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8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AF9D4A-9016-9F5E-8591-F45D594D07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FC74244-9FF0-5AB2-7F8B-8765BD4F02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FC17A71-D979-5AA8-5076-ACB616BA0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</a:t>
            </a:r>
          </a:p>
        </p:txBody>
      </p:sp>
      <p:grpSp>
        <p:nvGrpSpPr>
          <p:cNvPr id="2" name="Google Shape;3149;p70">
            <a:extLst>
              <a:ext uri="{FF2B5EF4-FFF2-40B4-BE49-F238E27FC236}">
                <a16:creationId xmlns:a16="http://schemas.microsoft.com/office/drawing/2014/main" id="{28033B4C-A2FE-8D87-5154-57202992FA07}"/>
              </a:ext>
            </a:extLst>
          </p:cNvPr>
          <p:cNvGrpSpPr/>
          <p:nvPr/>
        </p:nvGrpSpPr>
        <p:grpSpPr>
          <a:xfrm>
            <a:off x="7832013" y="1687191"/>
            <a:ext cx="3434279" cy="4110571"/>
            <a:chOff x="7620000" y="876300"/>
            <a:chExt cx="4266170" cy="5106282"/>
          </a:xfrm>
        </p:grpSpPr>
        <p:grpSp>
          <p:nvGrpSpPr>
            <p:cNvPr id="5" name="Google Shape;3150;p70">
              <a:extLst>
                <a:ext uri="{FF2B5EF4-FFF2-40B4-BE49-F238E27FC236}">
                  <a16:creationId xmlns:a16="http://schemas.microsoft.com/office/drawing/2014/main" id="{66923866-4B58-CE61-719D-5883FE722F02}"/>
                </a:ext>
              </a:extLst>
            </p:cNvPr>
            <p:cNvGrpSpPr/>
            <p:nvPr/>
          </p:nvGrpSpPr>
          <p:grpSpPr>
            <a:xfrm>
              <a:off x="7620000" y="876300"/>
              <a:ext cx="3611297" cy="5106282"/>
              <a:chOff x="7620000" y="876300"/>
              <a:chExt cx="3611297" cy="5106282"/>
            </a:xfrm>
          </p:grpSpPr>
          <p:sp>
            <p:nvSpPr>
              <p:cNvPr id="24" name="Google Shape;3151;p70">
                <a:extLst>
                  <a:ext uri="{FF2B5EF4-FFF2-40B4-BE49-F238E27FC236}">
                    <a16:creationId xmlns:a16="http://schemas.microsoft.com/office/drawing/2014/main" id="{F98D1EA0-2CA4-EFF7-E9E1-DDB80A596FED}"/>
                  </a:ext>
                </a:extLst>
              </p:cNvPr>
              <p:cNvSpPr/>
              <p:nvPr/>
            </p:nvSpPr>
            <p:spPr>
              <a:xfrm>
                <a:off x="7699450" y="955750"/>
                <a:ext cx="3531847" cy="5026832"/>
              </a:xfrm>
              <a:custGeom>
                <a:avLst/>
                <a:gdLst/>
                <a:ahLst/>
                <a:cxnLst/>
                <a:rect l="l" t="t" r="r" b="b"/>
                <a:pathLst>
                  <a:path w="3531847" h="5026832" extrusionOk="0">
                    <a:moveTo>
                      <a:pt x="3440480" y="512158"/>
                    </a:moveTo>
                    <a:lnTo>
                      <a:pt x="2729255" y="512158"/>
                    </a:lnTo>
                    <a:lnTo>
                      <a:pt x="2729255" y="363852"/>
                    </a:lnTo>
                    <a:cubicBezTo>
                      <a:pt x="2729255" y="307207"/>
                      <a:pt x="2683351" y="261155"/>
                      <a:pt x="2626706" y="261155"/>
                    </a:cubicBezTo>
                    <a:lnTo>
                      <a:pt x="2115283" y="261008"/>
                    </a:lnTo>
                    <a:cubicBezTo>
                      <a:pt x="2069673" y="261008"/>
                      <a:pt x="2029948" y="230846"/>
                      <a:pt x="2017001" y="187149"/>
                    </a:cubicBezTo>
                    <a:cubicBezTo>
                      <a:pt x="1984779" y="79009"/>
                      <a:pt x="1884731" y="0"/>
                      <a:pt x="1765997" y="0"/>
                    </a:cubicBezTo>
                    <a:cubicBezTo>
                      <a:pt x="1647411" y="0"/>
                      <a:pt x="1547215" y="78714"/>
                      <a:pt x="1514994" y="187002"/>
                    </a:cubicBezTo>
                    <a:cubicBezTo>
                      <a:pt x="1502047" y="230699"/>
                      <a:pt x="1462175" y="260861"/>
                      <a:pt x="1416712" y="260861"/>
                    </a:cubicBezTo>
                    <a:lnTo>
                      <a:pt x="905436" y="260714"/>
                    </a:lnTo>
                    <a:cubicBezTo>
                      <a:pt x="848791" y="260714"/>
                      <a:pt x="802739" y="306618"/>
                      <a:pt x="802739" y="363410"/>
                    </a:cubicBezTo>
                    <a:lnTo>
                      <a:pt x="802739" y="512158"/>
                    </a:lnTo>
                    <a:lnTo>
                      <a:pt x="91368" y="512158"/>
                    </a:lnTo>
                    <a:cubicBezTo>
                      <a:pt x="40902" y="512158"/>
                      <a:pt x="0" y="553061"/>
                      <a:pt x="0" y="603526"/>
                    </a:cubicBezTo>
                    <a:lnTo>
                      <a:pt x="0" y="4935466"/>
                    </a:lnTo>
                    <a:cubicBezTo>
                      <a:pt x="0" y="4985931"/>
                      <a:pt x="40902" y="5026833"/>
                      <a:pt x="91368" y="5026833"/>
                    </a:cubicBezTo>
                    <a:lnTo>
                      <a:pt x="3440480" y="5026833"/>
                    </a:lnTo>
                    <a:cubicBezTo>
                      <a:pt x="3490945" y="5026833"/>
                      <a:pt x="3531847" y="4985931"/>
                      <a:pt x="3531847" y="4935466"/>
                    </a:cubicBezTo>
                    <a:lnTo>
                      <a:pt x="3531847" y="603526"/>
                    </a:lnTo>
                    <a:cubicBezTo>
                      <a:pt x="3531847" y="553208"/>
                      <a:pt x="3490945" y="512158"/>
                      <a:pt x="3440480" y="51215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25" name="Google Shape;3152;p70">
                <a:extLst>
                  <a:ext uri="{FF2B5EF4-FFF2-40B4-BE49-F238E27FC236}">
                    <a16:creationId xmlns:a16="http://schemas.microsoft.com/office/drawing/2014/main" id="{809FE0E4-1154-FC00-1455-821136E191BD}"/>
                  </a:ext>
                </a:extLst>
              </p:cNvPr>
              <p:cNvSpPr/>
              <p:nvPr/>
            </p:nvSpPr>
            <p:spPr>
              <a:xfrm>
                <a:off x="7620000" y="1388458"/>
                <a:ext cx="3531847" cy="4514674"/>
              </a:xfrm>
              <a:custGeom>
                <a:avLst/>
                <a:gdLst/>
                <a:ahLst/>
                <a:cxnLst/>
                <a:rect l="l" t="t" r="r" b="b"/>
                <a:pathLst>
                  <a:path w="3531847" h="4514674" extrusionOk="0">
                    <a:moveTo>
                      <a:pt x="3531848" y="4423307"/>
                    </a:moveTo>
                    <a:cubicBezTo>
                      <a:pt x="3531848" y="4473773"/>
                      <a:pt x="3490946" y="4514675"/>
                      <a:pt x="3440480" y="4514675"/>
                    </a:cubicBezTo>
                    <a:lnTo>
                      <a:pt x="91220" y="4514675"/>
                    </a:lnTo>
                    <a:cubicBezTo>
                      <a:pt x="40755" y="4514675"/>
                      <a:pt x="0" y="4473773"/>
                      <a:pt x="0" y="4423307"/>
                    </a:cubicBezTo>
                    <a:lnTo>
                      <a:pt x="0" y="91368"/>
                    </a:lnTo>
                    <a:cubicBezTo>
                      <a:pt x="0" y="40902"/>
                      <a:pt x="40902" y="0"/>
                      <a:pt x="91220" y="0"/>
                    </a:cubicBezTo>
                    <a:lnTo>
                      <a:pt x="3440480" y="0"/>
                    </a:lnTo>
                    <a:cubicBezTo>
                      <a:pt x="3490946" y="0"/>
                      <a:pt x="3531848" y="40902"/>
                      <a:pt x="3531848" y="91368"/>
                    </a:cubicBezTo>
                    <a:lnTo>
                      <a:pt x="3531848" y="442330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26" name="Google Shape;3153;p70">
                <a:extLst>
                  <a:ext uri="{FF2B5EF4-FFF2-40B4-BE49-F238E27FC236}">
                    <a16:creationId xmlns:a16="http://schemas.microsoft.com/office/drawing/2014/main" id="{2B905E53-AE4D-F82E-498B-A103C7CD82A4}"/>
                  </a:ext>
                </a:extLst>
              </p:cNvPr>
              <p:cNvSpPr/>
              <p:nvPr/>
            </p:nvSpPr>
            <p:spPr>
              <a:xfrm>
                <a:off x="7802587" y="1571193"/>
                <a:ext cx="3166524" cy="4149057"/>
              </a:xfrm>
              <a:custGeom>
                <a:avLst/>
                <a:gdLst/>
                <a:ahLst/>
                <a:cxnLst/>
                <a:rect l="l" t="t" r="r" b="b"/>
                <a:pathLst>
                  <a:path w="3166524" h="4149057" extrusionOk="0">
                    <a:moveTo>
                      <a:pt x="0" y="0"/>
                    </a:moveTo>
                    <a:lnTo>
                      <a:pt x="3166525" y="0"/>
                    </a:lnTo>
                    <a:lnTo>
                      <a:pt x="3166525" y="4149057"/>
                    </a:lnTo>
                    <a:lnTo>
                      <a:pt x="0" y="414905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grpSp>
            <p:nvGrpSpPr>
              <p:cNvPr id="27" name="Google Shape;3154;p70">
                <a:extLst>
                  <a:ext uri="{FF2B5EF4-FFF2-40B4-BE49-F238E27FC236}">
                    <a16:creationId xmlns:a16="http://schemas.microsoft.com/office/drawing/2014/main" id="{374D6A04-E46E-5738-A541-896322EFC6E6}"/>
                  </a:ext>
                </a:extLst>
              </p:cNvPr>
              <p:cNvGrpSpPr/>
              <p:nvPr/>
            </p:nvGrpSpPr>
            <p:grpSpPr>
              <a:xfrm>
                <a:off x="8422592" y="876300"/>
                <a:ext cx="1926809" cy="849379"/>
                <a:chOff x="8422592" y="876300"/>
                <a:chExt cx="1926809" cy="849379"/>
              </a:xfrm>
            </p:grpSpPr>
            <p:grpSp>
              <p:nvGrpSpPr>
                <p:cNvPr id="57" name="Google Shape;3155;p70">
                  <a:extLst>
                    <a:ext uri="{FF2B5EF4-FFF2-40B4-BE49-F238E27FC236}">
                      <a16:creationId xmlns:a16="http://schemas.microsoft.com/office/drawing/2014/main" id="{58DD4D12-040F-6C17-F932-9CDC93FCD57D}"/>
                    </a:ext>
                  </a:extLst>
                </p:cNvPr>
                <p:cNvGrpSpPr/>
                <p:nvPr/>
              </p:nvGrpSpPr>
              <p:grpSpPr>
                <a:xfrm>
                  <a:off x="8422739" y="876300"/>
                  <a:ext cx="1926662" cy="849232"/>
                  <a:chOff x="8422739" y="876300"/>
                  <a:chExt cx="1926662" cy="849232"/>
                </a:xfrm>
              </p:grpSpPr>
              <p:sp>
                <p:nvSpPr>
                  <p:cNvPr id="59" name="Google Shape;3156;p70">
                    <a:extLst>
                      <a:ext uri="{FF2B5EF4-FFF2-40B4-BE49-F238E27FC236}">
                        <a16:creationId xmlns:a16="http://schemas.microsoft.com/office/drawing/2014/main" id="{248E9E54-52BE-3637-3ABB-6A4EE6C6278C}"/>
                      </a:ext>
                    </a:extLst>
                  </p:cNvPr>
                  <p:cNvSpPr/>
                  <p:nvPr/>
                </p:nvSpPr>
                <p:spPr>
                  <a:xfrm>
                    <a:off x="8422739" y="876300"/>
                    <a:ext cx="1926662" cy="8492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926662" h="849232" extrusionOk="0">
                        <a:moveTo>
                          <a:pt x="1312544" y="261008"/>
                        </a:moveTo>
                        <a:cubicBezTo>
                          <a:pt x="1266933" y="261008"/>
                          <a:pt x="1227209" y="230846"/>
                          <a:pt x="1214261" y="187149"/>
                        </a:cubicBezTo>
                        <a:cubicBezTo>
                          <a:pt x="1182040" y="78862"/>
                          <a:pt x="1081844" y="0"/>
                          <a:pt x="963258" y="0"/>
                        </a:cubicBezTo>
                        <a:cubicBezTo>
                          <a:pt x="844671" y="0"/>
                          <a:pt x="744476" y="78714"/>
                          <a:pt x="712255" y="187002"/>
                        </a:cubicBezTo>
                        <a:cubicBezTo>
                          <a:pt x="699307" y="230699"/>
                          <a:pt x="659435" y="260861"/>
                          <a:pt x="613972" y="260861"/>
                        </a:cubicBezTo>
                        <a:lnTo>
                          <a:pt x="102696" y="260714"/>
                        </a:lnTo>
                        <a:cubicBezTo>
                          <a:pt x="46052" y="260714"/>
                          <a:pt x="0" y="306618"/>
                          <a:pt x="0" y="363410"/>
                        </a:cubicBezTo>
                        <a:lnTo>
                          <a:pt x="0" y="746242"/>
                        </a:lnTo>
                        <a:cubicBezTo>
                          <a:pt x="0" y="802887"/>
                          <a:pt x="45904" y="848938"/>
                          <a:pt x="102696" y="848938"/>
                        </a:cubicBezTo>
                        <a:lnTo>
                          <a:pt x="1823966" y="849233"/>
                        </a:lnTo>
                        <a:cubicBezTo>
                          <a:pt x="1880611" y="849233"/>
                          <a:pt x="1926663" y="803328"/>
                          <a:pt x="1926663" y="746536"/>
                        </a:cubicBezTo>
                        <a:lnTo>
                          <a:pt x="1926663" y="363705"/>
                        </a:lnTo>
                        <a:cubicBezTo>
                          <a:pt x="1926663" y="307060"/>
                          <a:pt x="1880758" y="261008"/>
                          <a:pt x="1824113" y="261008"/>
                        </a:cubicBezTo>
                        <a:lnTo>
                          <a:pt x="1312544" y="261008"/>
                        </a:lnTo>
                        <a:close/>
                      </a:path>
                    </a:pathLst>
                  </a:custGeom>
                  <a:solidFill>
                    <a:srgbClr val="FFDD5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</a:pPr>
                    <a:endParaRPr sz="1800" b="0" i="0" u="none" strike="noStrike" cap="none" dirty="0">
                      <a:solidFill>
                        <a:srgbClr val="000000"/>
                      </a:solidFill>
                      <a:ea typeface="Arial"/>
                      <a:cs typeface="Calibri" panose="020F0502020204030204" pitchFamily="34" charset="0"/>
                      <a:sym typeface="Arial"/>
                    </a:endParaRPr>
                  </a:p>
                </p:txBody>
              </p:sp>
              <p:sp>
                <p:nvSpPr>
                  <p:cNvPr id="60" name="Google Shape;3157;p70">
                    <a:extLst>
                      <a:ext uri="{FF2B5EF4-FFF2-40B4-BE49-F238E27FC236}">
                        <a16:creationId xmlns:a16="http://schemas.microsoft.com/office/drawing/2014/main" id="{5DB954EF-43B3-1B82-E008-4F0B502A0877}"/>
                      </a:ext>
                    </a:extLst>
                  </p:cNvPr>
                  <p:cNvSpPr/>
                  <p:nvPr/>
                </p:nvSpPr>
                <p:spPr>
                  <a:xfrm>
                    <a:off x="9272413" y="1032110"/>
                    <a:ext cx="227168" cy="22731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27168" h="227315" extrusionOk="0">
                        <a:moveTo>
                          <a:pt x="227168" y="113731"/>
                        </a:moveTo>
                        <a:cubicBezTo>
                          <a:pt x="227168" y="176556"/>
                          <a:pt x="176261" y="227315"/>
                          <a:pt x="113584" y="227315"/>
                        </a:cubicBezTo>
                        <a:cubicBezTo>
                          <a:pt x="50907" y="227315"/>
                          <a:pt x="0" y="176408"/>
                          <a:pt x="0" y="113584"/>
                        </a:cubicBezTo>
                        <a:cubicBezTo>
                          <a:pt x="0" y="50907"/>
                          <a:pt x="51054" y="0"/>
                          <a:pt x="113731" y="0"/>
                        </a:cubicBezTo>
                        <a:cubicBezTo>
                          <a:pt x="176261" y="147"/>
                          <a:pt x="227168" y="50907"/>
                          <a:pt x="227168" y="113731"/>
                        </a:cubicBezTo>
                        <a:close/>
                      </a:path>
                    </a:pathLst>
                  </a:custGeom>
                  <a:solidFill>
                    <a:srgbClr val="BA7C00">
                      <a:alpha val="49803"/>
                    </a:srgbClr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dk1"/>
                      </a:buClr>
                      <a:buSzPts val="1800"/>
                      <a:buFont typeface="Arial"/>
                      <a:buNone/>
                    </a:pPr>
                    <a:endParaRPr sz="1800" b="0" i="0" u="none" strike="noStrike" cap="none" dirty="0">
                      <a:solidFill>
                        <a:srgbClr val="000000"/>
                      </a:solidFill>
                      <a:ea typeface="Arial"/>
                      <a:cs typeface="Calibri" panose="020F0502020204030204" pitchFamily="34" charset="0"/>
                      <a:sym typeface="Arial"/>
                    </a:endParaRPr>
                  </a:p>
                </p:txBody>
              </p:sp>
            </p:grpSp>
            <p:sp>
              <p:nvSpPr>
                <p:cNvPr id="58" name="Google Shape;3158;p70">
                  <a:extLst>
                    <a:ext uri="{FF2B5EF4-FFF2-40B4-BE49-F238E27FC236}">
                      <a16:creationId xmlns:a16="http://schemas.microsoft.com/office/drawing/2014/main" id="{46F3CDE0-279C-092F-FFC1-83421576BD6A}"/>
                    </a:ext>
                  </a:extLst>
                </p:cNvPr>
                <p:cNvSpPr/>
                <p:nvPr/>
              </p:nvSpPr>
              <p:spPr>
                <a:xfrm>
                  <a:off x="8422592" y="1570016"/>
                  <a:ext cx="1926515" cy="1556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26515" h="155663" extrusionOk="0">
                      <a:moveTo>
                        <a:pt x="0" y="0"/>
                      </a:moveTo>
                      <a:lnTo>
                        <a:pt x="1926516" y="0"/>
                      </a:lnTo>
                      <a:lnTo>
                        <a:pt x="1926516" y="155663"/>
                      </a:lnTo>
                      <a:lnTo>
                        <a:pt x="0" y="155663"/>
                      </a:lnTo>
                      <a:close/>
                    </a:path>
                  </a:pathLst>
                </a:custGeom>
                <a:solidFill>
                  <a:srgbClr val="E0A126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dk1"/>
                    </a:buClr>
                    <a:buSzPts val="1800"/>
                    <a:buFont typeface="Arial"/>
                    <a:buNone/>
                  </a:pPr>
                  <a:endParaRPr sz="1800" b="0" i="0" u="none" strike="noStrike" cap="none" dirty="0">
                    <a:solidFill>
                      <a:srgbClr val="000000"/>
                    </a:solidFill>
                    <a:ea typeface="Arial"/>
                    <a:cs typeface="Calibri" panose="020F0502020204030204" pitchFamily="34" charset="0"/>
                    <a:sym typeface="Arial"/>
                  </a:endParaRPr>
                </a:p>
              </p:txBody>
            </p:sp>
          </p:grpSp>
          <p:sp>
            <p:nvSpPr>
              <p:cNvPr id="28" name="Google Shape;3159;p70">
                <a:extLst>
                  <a:ext uri="{FF2B5EF4-FFF2-40B4-BE49-F238E27FC236}">
                    <a16:creationId xmlns:a16="http://schemas.microsoft.com/office/drawing/2014/main" id="{4DFD6AA4-CE18-EB60-0EC8-5A75B182E122}"/>
                  </a:ext>
                </a:extLst>
              </p:cNvPr>
              <p:cNvSpPr/>
              <p:nvPr/>
            </p:nvSpPr>
            <p:spPr>
              <a:xfrm>
                <a:off x="9150148" y="2029061"/>
                <a:ext cx="739915" cy="88719"/>
              </a:xfrm>
              <a:custGeom>
                <a:avLst/>
                <a:gdLst/>
                <a:ahLst/>
                <a:cxnLst/>
                <a:rect l="l" t="t" r="r" b="b"/>
                <a:pathLst>
                  <a:path w="739915" h="88719" extrusionOk="0">
                    <a:moveTo>
                      <a:pt x="0" y="0"/>
                    </a:moveTo>
                    <a:lnTo>
                      <a:pt x="739915" y="0"/>
                    </a:lnTo>
                    <a:lnTo>
                      <a:pt x="739915" y="88719"/>
                    </a:lnTo>
                    <a:lnTo>
                      <a:pt x="0" y="88719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29" name="Google Shape;3160;p70">
                <a:extLst>
                  <a:ext uri="{FF2B5EF4-FFF2-40B4-BE49-F238E27FC236}">
                    <a16:creationId xmlns:a16="http://schemas.microsoft.com/office/drawing/2014/main" id="{E2C4E351-566E-35B9-AC92-26646C665475}"/>
                  </a:ext>
                </a:extLst>
              </p:cNvPr>
              <p:cNvSpPr/>
              <p:nvPr/>
            </p:nvSpPr>
            <p:spPr>
              <a:xfrm>
                <a:off x="9150148" y="2253728"/>
                <a:ext cx="1479682" cy="88719"/>
              </a:xfrm>
              <a:custGeom>
                <a:avLst/>
                <a:gdLst/>
                <a:ahLst/>
                <a:cxnLst/>
                <a:rect l="l" t="t" r="r" b="b"/>
                <a:pathLst>
                  <a:path w="1479682" h="88719" extrusionOk="0">
                    <a:moveTo>
                      <a:pt x="0" y="0"/>
                    </a:moveTo>
                    <a:lnTo>
                      <a:pt x="1479683" y="0"/>
                    </a:lnTo>
                    <a:lnTo>
                      <a:pt x="1479683" y="88719"/>
                    </a:lnTo>
                    <a:lnTo>
                      <a:pt x="0" y="88719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0" name="Google Shape;3161;p70">
                <a:extLst>
                  <a:ext uri="{FF2B5EF4-FFF2-40B4-BE49-F238E27FC236}">
                    <a16:creationId xmlns:a16="http://schemas.microsoft.com/office/drawing/2014/main" id="{9EE6D948-E819-0E7A-3E96-EF67E94E00A5}"/>
                  </a:ext>
                </a:extLst>
              </p:cNvPr>
              <p:cNvSpPr/>
              <p:nvPr/>
            </p:nvSpPr>
            <p:spPr>
              <a:xfrm>
                <a:off x="9150148" y="2472362"/>
                <a:ext cx="1479682" cy="88719"/>
              </a:xfrm>
              <a:custGeom>
                <a:avLst/>
                <a:gdLst/>
                <a:ahLst/>
                <a:cxnLst/>
                <a:rect l="l" t="t" r="r" b="b"/>
                <a:pathLst>
                  <a:path w="1479682" h="88719" extrusionOk="0">
                    <a:moveTo>
                      <a:pt x="0" y="0"/>
                    </a:moveTo>
                    <a:lnTo>
                      <a:pt x="1479683" y="0"/>
                    </a:lnTo>
                    <a:lnTo>
                      <a:pt x="1479683" y="88719"/>
                    </a:lnTo>
                    <a:lnTo>
                      <a:pt x="0" y="88719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1" name="Google Shape;3162;p70">
                <a:extLst>
                  <a:ext uri="{FF2B5EF4-FFF2-40B4-BE49-F238E27FC236}">
                    <a16:creationId xmlns:a16="http://schemas.microsoft.com/office/drawing/2014/main" id="{3748D0B2-CBAB-0F52-8ACD-7E719068B3F9}"/>
                  </a:ext>
                </a:extLst>
              </p:cNvPr>
              <p:cNvSpPr/>
              <p:nvPr/>
            </p:nvSpPr>
            <p:spPr>
              <a:xfrm>
                <a:off x="9150148" y="2690997"/>
                <a:ext cx="1479682" cy="88719"/>
              </a:xfrm>
              <a:custGeom>
                <a:avLst/>
                <a:gdLst/>
                <a:ahLst/>
                <a:cxnLst/>
                <a:rect l="l" t="t" r="r" b="b"/>
                <a:pathLst>
                  <a:path w="1479682" h="88719" extrusionOk="0">
                    <a:moveTo>
                      <a:pt x="0" y="0"/>
                    </a:moveTo>
                    <a:lnTo>
                      <a:pt x="1479683" y="0"/>
                    </a:lnTo>
                    <a:lnTo>
                      <a:pt x="1479683" y="88719"/>
                    </a:lnTo>
                    <a:lnTo>
                      <a:pt x="0" y="88719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grpSp>
            <p:nvGrpSpPr>
              <p:cNvPr id="32" name="Google Shape;3163;p70">
                <a:extLst>
                  <a:ext uri="{FF2B5EF4-FFF2-40B4-BE49-F238E27FC236}">
                    <a16:creationId xmlns:a16="http://schemas.microsoft.com/office/drawing/2014/main" id="{728F5668-65F6-6CAD-08F5-89E1907A33F2}"/>
                  </a:ext>
                </a:extLst>
              </p:cNvPr>
              <p:cNvGrpSpPr/>
              <p:nvPr/>
            </p:nvGrpSpPr>
            <p:grpSpPr>
              <a:xfrm>
                <a:off x="8147165" y="2029061"/>
                <a:ext cx="750508" cy="750508"/>
                <a:chOff x="8147165" y="2029061"/>
                <a:chExt cx="750508" cy="750508"/>
              </a:xfrm>
            </p:grpSpPr>
            <p:sp>
              <p:nvSpPr>
                <p:cNvPr id="55" name="Google Shape;3164;p70">
                  <a:extLst>
                    <a:ext uri="{FF2B5EF4-FFF2-40B4-BE49-F238E27FC236}">
                      <a16:creationId xmlns:a16="http://schemas.microsoft.com/office/drawing/2014/main" id="{E24EC5D6-23B5-7D98-718F-8A84926BC4F7}"/>
                    </a:ext>
                  </a:extLst>
                </p:cNvPr>
                <p:cNvSpPr/>
                <p:nvPr/>
              </p:nvSpPr>
              <p:spPr>
                <a:xfrm>
                  <a:off x="8147165" y="2029061"/>
                  <a:ext cx="750508" cy="750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0508" h="750508" extrusionOk="0">
                      <a:moveTo>
                        <a:pt x="118292" y="750509"/>
                      </a:moveTo>
                      <a:cubicBezTo>
                        <a:pt x="86806" y="750509"/>
                        <a:pt x="57086" y="738150"/>
                        <a:pt x="34723" y="715786"/>
                      </a:cubicBezTo>
                      <a:cubicBezTo>
                        <a:pt x="12359" y="693422"/>
                        <a:pt x="0" y="663702"/>
                        <a:pt x="0" y="632216"/>
                      </a:cubicBezTo>
                      <a:lnTo>
                        <a:pt x="0" y="118292"/>
                      </a:lnTo>
                      <a:cubicBezTo>
                        <a:pt x="0" y="53114"/>
                        <a:pt x="53114" y="0"/>
                        <a:pt x="118292" y="0"/>
                      </a:cubicBezTo>
                      <a:lnTo>
                        <a:pt x="632216" y="0"/>
                      </a:lnTo>
                      <a:cubicBezTo>
                        <a:pt x="697395" y="0"/>
                        <a:pt x="750508" y="53114"/>
                        <a:pt x="750508" y="118292"/>
                      </a:cubicBezTo>
                      <a:lnTo>
                        <a:pt x="750508" y="632216"/>
                      </a:lnTo>
                      <a:cubicBezTo>
                        <a:pt x="750508" y="663702"/>
                        <a:pt x="738149" y="693422"/>
                        <a:pt x="715786" y="715786"/>
                      </a:cubicBezTo>
                      <a:cubicBezTo>
                        <a:pt x="693422" y="738150"/>
                        <a:pt x="663702" y="750509"/>
                        <a:pt x="632216" y="750509"/>
                      </a:cubicBezTo>
                      <a:lnTo>
                        <a:pt x="118292" y="750509"/>
                      </a:lnTo>
                      <a:close/>
                      <a:moveTo>
                        <a:pt x="118292" y="83128"/>
                      </a:moveTo>
                      <a:cubicBezTo>
                        <a:pt x="108876" y="83128"/>
                        <a:pt x="100048" y="86807"/>
                        <a:pt x="93427" y="93427"/>
                      </a:cubicBezTo>
                      <a:cubicBezTo>
                        <a:pt x="86806" y="100048"/>
                        <a:pt x="83128" y="109023"/>
                        <a:pt x="83128" y="118292"/>
                      </a:cubicBezTo>
                      <a:lnTo>
                        <a:pt x="83128" y="632216"/>
                      </a:lnTo>
                      <a:cubicBezTo>
                        <a:pt x="83128" y="651637"/>
                        <a:pt x="99018" y="667527"/>
                        <a:pt x="118439" y="667527"/>
                      </a:cubicBezTo>
                      <a:lnTo>
                        <a:pt x="632216" y="667527"/>
                      </a:lnTo>
                      <a:cubicBezTo>
                        <a:pt x="651637" y="667527"/>
                        <a:pt x="667527" y="651637"/>
                        <a:pt x="667527" y="632216"/>
                      </a:cubicBezTo>
                      <a:lnTo>
                        <a:pt x="667527" y="118292"/>
                      </a:lnTo>
                      <a:cubicBezTo>
                        <a:pt x="667527" y="98871"/>
                        <a:pt x="651784" y="82981"/>
                        <a:pt x="632216" y="82981"/>
                      </a:cubicBezTo>
                      <a:lnTo>
                        <a:pt x="632216" y="82981"/>
                      </a:lnTo>
                      <a:lnTo>
                        <a:pt x="118292" y="83128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dk1"/>
                    </a:buClr>
                    <a:buSzPts val="1800"/>
                    <a:buFont typeface="Arial"/>
                    <a:buNone/>
                  </a:pPr>
                  <a:endParaRPr sz="1800" b="0" i="0" u="none" strike="noStrike" cap="none" dirty="0">
                    <a:solidFill>
                      <a:srgbClr val="000000"/>
                    </a:solidFill>
                    <a:ea typeface="Arial"/>
                    <a:cs typeface="Calibri" panose="020F0502020204030204" pitchFamily="34" charset="0"/>
                    <a:sym typeface="Arial"/>
                  </a:endParaRPr>
                </a:p>
              </p:txBody>
            </p:sp>
            <p:sp>
              <p:nvSpPr>
                <p:cNvPr id="56" name="Google Shape;3165;p70">
                  <a:extLst>
                    <a:ext uri="{FF2B5EF4-FFF2-40B4-BE49-F238E27FC236}">
                      <a16:creationId xmlns:a16="http://schemas.microsoft.com/office/drawing/2014/main" id="{9D0CB5C7-C069-8E53-6DA5-7EB102637230}"/>
                    </a:ext>
                  </a:extLst>
                </p:cNvPr>
                <p:cNvSpPr/>
                <p:nvPr/>
              </p:nvSpPr>
              <p:spPr>
                <a:xfrm>
                  <a:off x="8272519" y="2218122"/>
                  <a:ext cx="499946" cy="3804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9946" h="380477" extrusionOk="0">
                      <a:moveTo>
                        <a:pt x="210543" y="380477"/>
                      </a:moveTo>
                      <a:lnTo>
                        <a:pt x="0" y="178910"/>
                      </a:lnTo>
                      <a:lnTo>
                        <a:pt x="78714" y="96664"/>
                      </a:lnTo>
                      <a:lnTo>
                        <a:pt x="207159" y="219518"/>
                      </a:lnTo>
                      <a:lnTo>
                        <a:pt x="417701" y="0"/>
                      </a:lnTo>
                      <a:lnTo>
                        <a:pt x="499947" y="78714"/>
                      </a:lnTo>
                      <a:lnTo>
                        <a:pt x="210543" y="380477"/>
                      </a:lnTo>
                      <a:close/>
                    </a:path>
                  </a:pathLst>
                </a:custGeom>
                <a:solidFill>
                  <a:srgbClr val="00D397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dk1"/>
                    </a:buClr>
                    <a:buSzPts val="1800"/>
                    <a:buFont typeface="Arial"/>
                    <a:buNone/>
                  </a:pPr>
                  <a:endParaRPr sz="1800" b="0" i="0" u="none" strike="noStrike" cap="none" dirty="0">
                    <a:solidFill>
                      <a:srgbClr val="000000"/>
                    </a:solidFill>
                    <a:ea typeface="Arial"/>
                    <a:cs typeface="Calibri" panose="020F0502020204030204" pitchFamily="34" charset="0"/>
                    <a:sym typeface="Arial"/>
                  </a:endParaRPr>
                </a:p>
              </p:txBody>
            </p:sp>
          </p:grpSp>
          <p:sp>
            <p:nvSpPr>
              <p:cNvPr id="33" name="Google Shape;3166;p70">
                <a:extLst>
                  <a:ext uri="{FF2B5EF4-FFF2-40B4-BE49-F238E27FC236}">
                    <a16:creationId xmlns:a16="http://schemas.microsoft.com/office/drawing/2014/main" id="{C9301ABA-9044-FB07-6792-B72649AE2686}"/>
                  </a:ext>
                </a:extLst>
              </p:cNvPr>
              <p:cNvSpPr/>
              <p:nvPr/>
            </p:nvSpPr>
            <p:spPr>
              <a:xfrm>
                <a:off x="9150148" y="2908160"/>
                <a:ext cx="739915" cy="88719"/>
              </a:xfrm>
              <a:custGeom>
                <a:avLst/>
                <a:gdLst/>
                <a:ahLst/>
                <a:cxnLst/>
                <a:rect l="l" t="t" r="r" b="b"/>
                <a:pathLst>
                  <a:path w="739915" h="88719" extrusionOk="0">
                    <a:moveTo>
                      <a:pt x="0" y="0"/>
                    </a:moveTo>
                    <a:lnTo>
                      <a:pt x="739915" y="0"/>
                    </a:lnTo>
                    <a:lnTo>
                      <a:pt x="739915" y="88719"/>
                    </a:lnTo>
                    <a:lnTo>
                      <a:pt x="0" y="88719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4" name="Google Shape;3167;p70">
                <a:extLst>
                  <a:ext uri="{FF2B5EF4-FFF2-40B4-BE49-F238E27FC236}">
                    <a16:creationId xmlns:a16="http://schemas.microsoft.com/office/drawing/2014/main" id="{6D661084-2A1C-CFA6-FE77-457BE23C52B8}"/>
                  </a:ext>
                </a:extLst>
              </p:cNvPr>
              <p:cNvSpPr/>
              <p:nvPr/>
            </p:nvSpPr>
            <p:spPr>
              <a:xfrm>
                <a:off x="9150148" y="3132680"/>
                <a:ext cx="1479682" cy="88719"/>
              </a:xfrm>
              <a:custGeom>
                <a:avLst/>
                <a:gdLst/>
                <a:ahLst/>
                <a:cxnLst/>
                <a:rect l="l" t="t" r="r" b="b"/>
                <a:pathLst>
                  <a:path w="1479682" h="88719" extrusionOk="0">
                    <a:moveTo>
                      <a:pt x="0" y="0"/>
                    </a:moveTo>
                    <a:lnTo>
                      <a:pt x="1479683" y="0"/>
                    </a:lnTo>
                    <a:lnTo>
                      <a:pt x="1479683" y="88719"/>
                    </a:lnTo>
                    <a:lnTo>
                      <a:pt x="0" y="88719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5" name="Google Shape;3168;p70">
                <a:extLst>
                  <a:ext uri="{FF2B5EF4-FFF2-40B4-BE49-F238E27FC236}">
                    <a16:creationId xmlns:a16="http://schemas.microsoft.com/office/drawing/2014/main" id="{366915D2-D540-FFC0-83B3-C4E33E956586}"/>
                  </a:ext>
                </a:extLst>
              </p:cNvPr>
              <p:cNvSpPr/>
              <p:nvPr/>
            </p:nvSpPr>
            <p:spPr>
              <a:xfrm>
                <a:off x="9150148" y="3351315"/>
                <a:ext cx="1479682" cy="88719"/>
              </a:xfrm>
              <a:custGeom>
                <a:avLst/>
                <a:gdLst/>
                <a:ahLst/>
                <a:cxnLst/>
                <a:rect l="l" t="t" r="r" b="b"/>
                <a:pathLst>
                  <a:path w="1479682" h="88719" extrusionOk="0">
                    <a:moveTo>
                      <a:pt x="0" y="0"/>
                    </a:moveTo>
                    <a:lnTo>
                      <a:pt x="1479683" y="0"/>
                    </a:lnTo>
                    <a:lnTo>
                      <a:pt x="1479683" y="88719"/>
                    </a:lnTo>
                    <a:lnTo>
                      <a:pt x="0" y="88719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6" name="Google Shape;3169;p70">
                <a:extLst>
                  <a:ext uri="{FF2B5EF4-FFF2-40B4-BE49-F238E27FC236}">
                    <a16:creationId xmlns:a16="http://schemas.microsoft.com/office/drawing/2014/main" id="{2826C069-BC3E-DB9A-E14E-4FC255083DE6}"/>
                  </a:ext>
                </a:extLst>
              </p:cNvPr>
              <p:cNvSpPr/>
              <p:nvPr/>
            </p:nvSpPr>
            <p:spPr>
              <a:xfrm>
                <a:off x="9150148" y="3569950"/>
                <a:ext cx="1479682" cy="88719"/>
              </a:xfrm>
              <a:custGeom>
                <a:avLst/>
                <a:gdLst/>
                <a:ahLst/>
                <a:cxnLst/>
                <a:rect l="l" t="t" r="r" b="b"/>
                <a:pathLst>
                  <a:path w="1479682" h="88719" extrusionOk="0">
                    <a:moveTo>
                      <a:pt x="0" y="0"/>
                    </a:moveTo>
                    <a:lnTo>
                      <a:pt x="1479683" y="0"/>
                    </a:lnTo>
                    <a:lnTo>
                      <a:pt x="1479683" y="88719"/>
                    </a:lnTo>
                    <a:lnTo>
                      <a:pt x="0" y="88719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grpSp>
            <p:nvGrpSpPr>
              <p:cNvPr id="37" name="Google Shape;3170;p70">
                <a:extLst>
                  <a:ext uri="{FF2B5EF4-FFF2-40B4-BE49-F238E27FC236}">
                    <a16:creationId xmlns:a16="http://schemas.microsoft.com/office/drawing/2014/main" id="{4A586BC2-6486-5E38-7628-6149FBC4FAF7}"/>
                  </a:ext>
                </a:extLst>
              </p:cNvPr>
              <p:cNvGrpSpPr/>
              <p:nvPr/>
            </p:nvGrpSpPr>
            <p:grpSpPr>
              <a:xfrm>
                <a:off x="8147165" y="2908161"/>
                <a:ext cx="750508" cy="750508"/>
                <a:chOff x="8147165" y="2908161"/>
                <a:chExt cx="750508" cy="750508"/>
              </a:xfrm>
            </p:grpSpPr>
            <p:sp>
              <p:nvSpPr>
                <p:cNvPr id="53" name="Google Shape;3171;p70">
                  <a:extLst>
                    <a:ext uri="{FF2B5EF4-FFF2-40B4-BE49-F238E27FC236}">
                      <a16:creationId xmlns:a16="http://schemas.microsoft.com/office/drawing/2014/main" id="{616FC753-170A-53D5-432F-2DBCC72544AD}"/>
                    </a:ext>
                  </a:extLst>
                </p:cNvPr>
                <p:cNvSpPr/>
                <p:nvPr/>
              </p:nvSpPr>
              <p:spPr>
                <a:xfrm>
                  <a:off x="8147165" y="2908161"/>
                  <a:ext cx="750508" cy="750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0508" h="750508" extrusionOk="0">
                      <a:moveTo>
                        <a:pt x="118292" y="750508"/>
                      </a:moveTo>
                      <a:cubicBezTo>
                        <a:pt x="86806" y="750508"/>
                        <a:pt x="57086" y="738150"/>
                        <a:pt x="34723" y="715786"/>
                      </a:cubicBezTo>
                      <a:cubicBezTo>
                        <a:pt x="12359" y="693422"/>
                        <a:pt x="0" y="663702"/>
                        <a:pt x="0" y="632216"/>
                      </a:cubicBezTo>
                      <a:lnTo>
                        <a:pt x="0" y="118292"/>
                      </a:lnTo>
                      <a:cubicBezTo>
                        <a:pt x="0" y="53114"/>
                        <a:pt x="53114" y="0"/>
                        <a:pt x="118292" y="0"/>
                      </a:cubicBezTo>
                      <a:lnTo>
                        <a:pt x="632216" y="0"/>
                      </a:lnTo>
                      <a:cubicBezTo>
                        <a:pt x="697395" y="0"/>
                        <a:pt x="750508" y="53114"/>
                        <a:pt x="750508" y="118292"/>
                      </a:cubicBezTo>
                      <a:lnTo>
                        <a:pt x="750508" y="632216"/>
                      </a:lnTo>
                      <a:cubicBezTo>
                        <a:pt x="750508" y="663702"/>
                        <a:pt x="738149" y="693422"/>
                        <a:pt x="715786" y="715786"/>
                      </a:cubicBezTo>
                      <a:cubicBezTo>
                        <a:pt x="693422" y="738150"/>
                        <a:pt x="663702" y="750508"/>
                        <a:pt x="632216" y="750508"/>
                      </a:cubicBezTo>
                      <a:lnTo>
                        <a:pt x="118292" y="750508"/>
                      </a:lnTo>
                      <a:close/>
                      <a:moveTo>
                        <a:pt x="118292" y="82981"/>
                      </a:moveTo>
                      <a:cubicBezTo>
                        <a:pt x="108876" y="82981"/>
                        <a:pt x="100048" y="86659"/>
                        <a:pt x="93427" y="93280"/>
                      </a:cubicBezTo>
                      <a:cubicBezTo>
                        <a:pt x="86806" y="99901"/>
                        <a:pt x="83128" y="108876"/>
                        <a:pt x="83128" y="118145"/>
                      </a:cubicBezTo>
                      <a:lnTo>
                        <a:pt x="83128" y="632069"/>
                      </a:lnTo>
                      <a:cubicBezTo>
                        <a:pt x="83128" y="651490"/>
                        <a:pt x="99018" y="667380"/>
                        <a:pt x="118439" y="667380"/>
                      </a:cubicBezTo>
                      <a:lnTo>
                        <a:pt x="632216" y="667380"/>
                      </a:lnTo>
                      <a:cubicBezTo>
                        <a:pt x="651637" y="667380"/>
                        <a:pt x="667527" y="651490"/>
                        <a:pt x="667527" y="632069"/>
                      </a:cubicBezTo>
                      <a:lnTo>
                        <a:pt x="667527" y="118145"/>
                      </a:lnTo>
                      <a:cubicBezTo>
                        <a:pt x="667527" y="98724"/>
                        <a:pt x="651784" y="82834"/>
                        <a:pt x="632216" y="82834"/>
                      </a:cubicBezTo>
                      <a:lnTo>
                        <a:pt x="632216" y="82834"/>
                      </a:lnTo>
                      <a:lnTo>
                        <a:pt x="118292" y="82981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dk1"/>
                    </a:buClr>
                    <a:buSzPts val="1800"/>
                    <a:buFont typeface="Arial"/>
                    <a:buNone/>
                  </a:pPr>
                  <a:endParaRPr sz="1800" b="0" i="0" u="none" strike="noStrike" cap="none" dirty="0">
                    <a:solidFill>
                      <a:srgbClr val="000000"/>
                    </a:solidFill>
                    <a:ea typeface="Arial"/>
                    <a:cs typeface="Calibri" panose="020F0502020204030204" pitchFamily="34" charset="0"/>
                    <a:sym typeface="Arial"/>
                  </a:endParaRPr>
                </a:p>
              </p:txBody>
            </p:sp>
            <p:sp>
              <p:nvSpPr>
                <p:cNvPr id="54" name="Google Shape;3172;p70">
                  <a:extLst>
                    <a:ext uri="{FF2B5EF4-FFF2-40B4-BE49-F238E27FC236}">
                      <a16:creationId xmlns:a16="http://schemas.microsoft.com/office/drawing/2014/main" id="{E8E326C4-4037-B86C-0602-822CB8353E9D}"/>
                    </a:ext>
                  </a:extLst>
                </p:cNvPr>
                <p:cNvSpPr/>
                <p:nvPr/>
              </p:nvSpPr>
              <p:spPr>
                <a:xfrm>
                  <a:off x="8272519" y="3096928"/>
                  <a:ext cx="500093" cy="3806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0093" h="380624" extrusionOk="0">
                      <a:moveTo>
                        <a:pt x="210543" y="380625"/>
                      </a:moveTo>
                      <a:lnTo>
                        <a:pt x="0" y="179057"/>
                      </a:lnTo>
                      <a:lnTo>
                        <a:pt x="78714" y="96811"/>
                      </a:lnTo>
                      <a:lnTo>
                        <a:pt x="207159" y="219665"/>
                      </a:lnTo>
                      <a:lnTo>
                        <a:pt x="417848" y="0"/>
                      </a:lnTo>
                      <a:lnTo>
                        <a:pt x="500094" y="78714"/>
                      </a:lnTo>
                      <a:lnTo>
                        <a:pt x="210543" y="380625"/>
                      </a:lnTo>
                      <a:close/>
                    </a:path>
                  </a:pathLst>
                </a:custGeom>
                <a:solidFill>
                  <a:srgbClr val="00D397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dk1"/>
                    </a:buClr>
                    <a:buSzPts val="1800"/>
                    <a:buFont typeface="Arial"/>
                    <a:buNone/>
                  </a:pPr>
                  <a:endParaRPr sz="1800" b="0" i="0" u="none" strike="noStrike" cap="none" dirty="0">
                    <a:solidFill>
                      <a:srgbClr val="000000"/>
                    </a:solidFill>
                    <a:ea typeface="Arial"/>
                    <a:cs typeface="Calibri" panose="020F0502020204030204" pitchFamily="34" charset="0"/>
                    <a:sym typeface="Arial"/>
                  </a:endParaRPr>
                </a:p>
              </p:txBody>
            </p:sp>
          </p:grpSp>
          <p:sp>
            <p:nvSpPr>
              <p:cNvPr id="38" name="Google Shape;3173;p70">
                <a:extLst>
                  <a:ext uri="{FF2B5EF4-FFF2-40B4-BE49-F238E27FC236}">
                    <a16:creationId xmlns:a16="http://schemas.microsoft.com/office/drawing/2014/main" id="{D035E1F5-8BF4-A6AF-3EB0-6263A73A51D1}"/>
                  </a:ext>
                </a:extLst>
              </p:cNvPr>
              <p:cNvSpPr/>
              <p:nvPr/>
            </p:nvSpPr>
            <p:spPr>
              <a:xfrm>
                <a:off x="9150148" y="3787113"/>
                <a:ext cx="739915" cy="88719"/>
              </a:xfrm>
              <a:custGeom>
                <a:avLst/>
                <a:gdLst/>
                <a:ahLst/>
                <a:cxnLst/>
                <a:rect l="l" t="t" r="r" b="b"/>
                <a:pathLst>
                  <a:path w="739915" h="88719" extrusionOk="0">
                    <a:moveTo>
                      <a:pt x="0" y="0"/>
                    </a:moveTo>
                    <a:lnTo>
                      <a:pt x="739915" y="0"/>
                    </a:lnTo>
                    <a:lnTo>
                      <a:pt x="739915" y="88719"/>
                    </a:lnTo>
                    <a:lnTo>
                      <a:pt x="0" y="88719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39" name="Google Shape;3174;p70">
                <a:extLst>
                  <a:ext uri="{FF2B5EF4-FFF2-40B4-BE49-F238E27FC236}">
                    <a16:creationId xmlns:a16="http://schemas.microsoft.com/office/drawing/2014/main" id="{B7F20814-044D-98B3-DC9C-5051657BDE1B}"/>
                  </a:ext>
                </a:extLst>
              </p:cNvPr>
              <p:cNvSpPr/>
              <p:nvPr/>
            </p:nvSpPr>
            <p:spPr>
              <a:xfrm>
                <a:off x="9150148" y="4011780"/>
                <a:ext cx="1479682" cy="88719"/>
              </a:xfrm>
              <a:custGeom>
                <a:avLst/>
                <a:gdLst/>
                <a:ahLst/>
                <a:cxnLst/>
                <a:rect l="l" t="t" r="r" b="b"/>
                <a:pathLst>
                  <a:path w="1479682" h="88719" extrusionOk="0">
                    <a:moveTo>
                      <a:pt x="0" y="0"/>
                    </a:moveTo>
                    <a:lnTo>
                      <a:pt x="1479683" y="0"/>
                    </a:lnTo>
                    <a:lnTo>
                      <a:pt x="1479683" y="88719"/>
                    </a:lnTo>
                    <a:lnTo>
                      <a:pt x="0" y="88719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40" name="Google Shape;3175;p70">
                <a:extLst>
                  <a:ext uri="{FF2B5EF4-FFF2-40B4-BE49-F238E27FC236}">
                    <a16:creationId xmlns:a16="http://schemas.microsoft.com/office/drawing/2014/main" id="{B74CB5AC-A9B0-7B8C-D4E9-BD8289AB3AB0}"/>
                  </a:ext>
                </a:extLst>
              </p:cNvPr>
              <p:cNvSpPr/>
              <p:nvPr/>
            </p:nvSpPr>
            <p:spPr>
              <a:xfrm>
                <a:off x="9150148" y="4230268"/>
                <a:ext cx="1479682" cy="88719"/>
              </a:xfrm>
              <a:custGeom>
                <a:avLst/>
                <a:gdLst/>
                <a:ahLst/>
                <a:cxnLst/>
                <a:rect l="l" t="t" r="r" b="b"/>
                <a:pathLst>
                  <a:path w="1479682" h="88719" extrusionOk="0">
                    <a:moveTo>
                      <a:pt x="0" y="0"/>
                    </a:moveTo>
                    <a:lnTo>
                      <a:pt x="1479683" y="0"/>
                    </a:lnTo>
                    <a:lnTo>
                      <a:pt x="1479683" y="88719"/>
                    </a:lnTo>
                    <a:lnTo>
                      <a:pt x="0" y="88719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41" name="Google Shape;3176;p70">
                <a:extLst>
                  <a:ext uri="{FF2B5EF4-FFF2-40B4-BE49-F238E27FC236}">
                    <a16:creationId xmlns:a16="http://schemas.microsoft.com/office/drawing/2014/main" id="{D78C7AFF-10AD-A08D-8FEA-93FD0CDBA5A8}"/>
                  </a:ext>
                </a:extLst>
              </p:cNvPr>
              <p:cNvSpPr/>
              <p:nvPr/>
            </p:nvSpPr>
            <p:spPr>
              <a:xfrm>
                <a:off x="9150148" y="4448902"/>
                <a:ext cx="1479682" cy="88719"/>
              </a:xfrm>
              <a:custGeom>
                <a:avLst/>
                <a:gdLst/>
                <a:ahLst/>
                <a:cxnLst/>
                <a:rect l="l" t="t" r="r" b="b"/>
                <a:pathLst>
                  <a:path w="1479682" h="88719" extrusionOk="0">
                    <a:moveTo>
                      <a:pt x="0" y="0"/>
                    </a:moveTo>
                    <a:lnTo>
                      <a:pt x="1479683" y="0"/>
                    </a:lnTo>
                    <a:lnTo>
                      <a:pt x="1479683" y="88719"/>
                    </a:lnTo>
                    <a:lnTo>
                      <a:pt x="0" y="88719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grpSp>
            <p:nvGrpSpPr>
              <p:cNvPr id="42" name="Google Shape;3177;p70">
                <a:extLst>
                  <a:ext uri="{FF2B5EF4-FFF2-40B4-BE49-F238E27FC236}">
                    <a16:creationId xmlns:a16="http://schemas.microsoft.com/office/drawing/2014/main" id="{B878E21F-CDC4-1340-30A0-69E94AA1DA43}"/>
                  </a:ext>
                </a:extLst>
              </p:cNvPr>
              <p:cNvGrpSpPr/>
              <p:nvPr/>
            </p:nvGrpSpPr>
            <p:grpSpPr>
              <a:xfrm>
                <a:off x="8147165" y="3787113"/>
                <a:ext cx="750508" cy="750508"/>
                <a:chOff x="8147165" y="3787113"/>
                <a:chExt cx="750508" cy="750508"/>
              </a:xfrm>
            </p:grpSpPr>
            <p:sp>
              <p:nvSpPr>
                <p:cNvPr id="51" name="Google Shape;3178;p70">
                  <a:extLst>
                    <a:ext uri="{FF2B5EF4-FFF2-40B4-BE49-F238E27FC236}">
                      <a16:creationId xmlns:a16="http://schemas.microsoft.com/office/drawing/2014/main" id="{3442072E-5D12-F101-167E-39BB4FF90479}"/>
                    </a:ext>
                  </a:extLst>
                </p:cNvPr>
                <p:cNvSpPr/>
                <p:nvPr/>
              </p:nvSpPr>
              <p:spPr>
                <a:xfrm>
                  <a:off x="8147165" y="3787113"/>
                  <a:ext cx="750508" cy="750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0508" h="750508" extrusionOk="0">
                      <a:moveTo>
                        <a:pt x="118292" y="750509"/>
                      </a:moveTo>
                      <a:cubicBezTo>
                        <a:pt x="86806" y="750509"/>
                        <a:pt x="57086" y="738150"/>
                        <a:pt x="34723" y="715786"/>
                      </a:cubicBezTo>
                      <a:cubicBezTo>
                        <a:pt x="12359" y="693422"/>
                        <a:pt x="0" y="663702"/>
                        <a:pt x="0" y="632216"/>
                      </a:cubicBezTo>
                      <a:lnTo>
                        <a:pt x="0" y="118292"/>
                      </a:lnTo>
                      <a:cubicBezTo>
                        <a:pt x="0" y="53114"/>
                        <a:pt x="53114" y="0"/>
                        <a:pt x="118292" y="0"/>
                      </a:cubicBezTo>
                      <a:lnTo>
                        <a:pt x="632216" y="0"/>
                      </a:lnTo>
                      <a:cubicBezTo>
                        <a:pt x="697395" y="0"/>
                        <a:pt x="750508" y="53114"/>
                        <a:pt x="750508" y="118292"/>
                      </a:cubicBezTo>
                      <a:lnTo>
                        <a:pt x="750508" y="632216"/>
                      </a:lnTo>
                      <a:cubicBezTo>
                        <a:pt x="750508" y="663702"/>
                        <a:pt x="738149" y="693422"/>
                        <a:pt x="715786" y="715786"/>
                      </a:cubicBezTo>
                      <a:cubicBezTo>
                        <a:pt x="693422" y="738150"/>
                        <a:pt x="663702" y="750509"/>
                        <a:pt x="632216" y="750509"/>
                      </a:cubicBezTo>
                      <a:lnTo>
                        <a:pt x="118292" y="750509"/>
                      </a:lnTo>
                      <a:close/>
                      <a:moveTo>
                        <a:pt x="118292" y="82981"/>
                      </a:moveTo>
                      <a:cubicBezTo>
                        <a:pt x="108876" y="82981"/>
                        <a:pt x="100048" y="86659"/>
                        <a:pt x="93427" y="93280"/>
                      </a:cubicBezTo>
                      <a:cubicBezTo>
                        <a:pt x="86806" y="99901"/>
                        <a:pt x="83128" y="108876"/>
                        <a:pt x="83128" y="118145"/>
                      </a:cubicBezTo>
                      <a:lnTo>
                        <a:pt x="83128" y="632069"/>
                      </a:lnTo>
                      <a:cubicBezTo>
                        <a:pt x="83128" y="651490"/>
                        <a:pt x="99018" y="667380"/>
                        <a:pt x="118439" y="667380"/>
                      </a:cubicBezTo>
                      <a:lnTo>
                        <a:pt x="632216" y="667380"/>
                      </a:lnTo>
                      <a:cubicBezTo>
                        <a:pt x="651637" y="667380"/>
                        <a:pt x="667527" y="651490"/>
                        <a:pt x="667527" y="632069"/>
                      </a:cubicBezTo>
                      <a:lnTo>
                        <a:pt x="667527" y="118145"/>
                      </a:lnTo>
                      <a:cubicBezTo>
                        <a:pt x="667527" y="98724"/>
                        <a:pt x="651784" y="82834"/>
                        <a:pt x="632216" y="82834"/>
                      </a:cubicBezTo>
                      <a:lnTo>
                        <a:pt x="632216" y="82834"/>
                      </a:lnTo>
                      <a:lnTo>
                        <a:pt x="118292" y="82981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dk1"/>
                    </a:buClr>
                    <a:buSzPts val="1800"/>
                    <a:buFont typeface="Arial"/>
                    <a:buNone/>
                  </a:pPr>
                  <a:endParaRPr sz="1800" b="0" i="0" u="none" strike="noStrike" cap="none" dirty="0">
                    <a:solidFill>
                      <a:srgbClr val="000000"/>
                    </a:solidFill>
                    <a:ea typeface="Arial"/>
                    <a:cs typeface="Calibri" panose="020F0502020204030204" pitchFamily="34" charset="0"/>
                    <a:sym typeface="Arial"/>
                  </a:endParaRPr>
                </a:p>
              </p:txBody>
            </p:sp>
            <p:sp>
              <p:nvSpPr>
                <p:cNvPr id="52" name="Google Shape;3179;p70">
                  <a:extLst>
                    <a:ext uri="{FF2B5EF4-FFF2-40B4-BE49-F238E27FC236}">
                      <a16:creationId xmlns:a16="http://schemas.microsoft.com/office/drawing/2014/main" id="{5935DD18-1D85-9368-1205-8DE0E1176F32}"/>
                    </a:ext>
                  </a:extLst>
                </p:cNvPr>
                <p:cNvSpPr/>
                <p:nvPr/>
              </p:nvSpPr>
              <p:spPr>
                <a:xfrm>
                  <a:off x="8272519" y="3976028"/>
                  <a:ext cx="500093" cy="3806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0093" h="380624" extrusionOk="0">
                      <a:moveTo>
                        <a:pt x="210543" y="380625"/>
                      </a:moveTo>
                      <a:lnTo>
                        <a:pt x="0" y="179057"/>
                      </a:lnTo>
                      <a:lnTo>
                        <a:pt x="78714" y="96811"/>
                      </a:lnTo>
                      <a:lnTo>
                        <a:pt x="207159" y="219665"/>
                      </a:lnTo>
                      <a:lnTo>
                        <a:pt x="417848" y="0"/>
                      </a:lnTo>
                      <a:lnTo>
                        <a:pt x="500094" y="78714"/>
                      </a:lnTo>
                      <a:lnTo>
                        <a:pt x="210543" y="380625"/>
                      </a:lnTo>
                      <a:close/>
                    </a:path>
                  </a:pathLst>
                </a:custGeom>
                <a:solidFill>
                  <a:srgbClr val="00D397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dk1"/>
                    </a:buClr>
                    <a:buSzPts val="1800"/>
                    <a:buFont typeface="Arial"/>
                    <a:buNone/>
                  </a:pPr>
                  <a:endParaRPr sz="1800" b="0" i="0" u="none" strike="noStrike" cap="none" dirty="0">
                    <a:solidFill>
                      <a:srgbClr val="000000"/>
                    </a:solidFill>
                    <a:ea typeface="Arial"/>
                    <a:cs typeface="Calibri" panose="020F0502020204030204" pitchFamily="34" charset="0"/>
                    <a:sym typeface="Arial"/>
                  </a:endParaRPr>
                </a:p>
              </p:txBody>
            </p:sp>
          </p:grpSp>
          <p:sp>
            <p:nvSpPr>
              <p:cNvPr id="43" name="Google Shape;3180;p70">
                <a:extLst>
                  <a:ext uri="{FF2B5EF4-FFF2-40B4-BE49-F238E27FC236}">
                    <a16:creationId xmlns:a16="http://schemas.microsoft.com/office/drawing/2014/main" id="{3FD18495-03CC-BB9D-472B-21C6298D8CF4}"/>
                  </a:ext>
                </a:extLst>
              </p:cNvPr>
              <p:cNvSpPr/>
              <p:nvPr/>
            </p:nvSpPr>
            <p:spPr>
              <a:xfrm>
                <a:off x="9150148" y="4666066"/>
                <a:ext cx="739915" cy="88719"/>
              </a:xfrm>
              <a:custGeom>
                <a:avLst/>
                <a:gdLst/>
                <a:ahLst/>
                <a:cxnLst/>
                <a:rect l="l" t="t" r="r" b="b"/>
                <a:pathLst>
                  <a:path w="739915" h="88719" extrusionOk="0">
                    <a:moveTo>
                      <a:pt x="0" y="0"/>
                    </a:moveTo>
                    <a:lnTo>
                      <a:pt x="739915" y="0"/>
                    </a:lnTo>
                    <a:lnTo>
                      <a:pt x="739915" y="88719"/>
                    </a:lnTo>
                    <a:lnTo>
                      <a:pt x="0" y="88719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44" name="Google Shape;3181;p70">
                <a:extLst>
                  <a:ext uri="{FF2B5EF4-FFF2-40B4-BE49-F238E27FC236}">
                    <a16:creationId xmlns:a16="http://schemas.microsoft.com/office/drawing/2014/main" id="{F5F791FF-8B77-FD9A-3F96-304F3DF5E466}"/>
                  </a:ext>
                </a:extLst>
              </p:cNvPr>
              <p:cNvSpPr/>
              <p:nvPr/>
            </p:nvSpPr>
            <p:spPr>
              <a:xfrm>
                <a:off x="9150148" y="4890733"/>
                <a:ext cx="1479682" cy="88719"/>
              </a:xfrm>
              <a:custGeom>
                <a:avLst/>
                <a:gdLst/>
                <a:ahLst/>
                <a:cxnLst/>
                <a:rect l="l" t="t" r="r" b="b"/>
                <a:pathLst>
                  <a:path w="1479682" h="88719" extrusionOk="0">
                    <a:moveTo>
                      <a:pt x="0" y="0"/>
                    </a:moveTo>
                    <a:lnTo>
                      <a:pt x="1479683" y="0"/>
                    </a:lnTo>
                    <a:lnTo>
                      <a:pt x="1479683" y="88719"/>
                    </a:lnTo>
                    <a:lnTo>
                      <a:pt x="0" y="88719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45" name="Google Shape;3182;p70">
                <a:extLst>
                  <a:ext uri="{FF2B5EF4-FFF2-40B4-BE49-F238E27FC236}">
                    <a16:creationId xmlns:a16="http://schemas.microsoft.com/office/drawing/2014/main" id="{E6D4E1CC-5768-E7A0-55AA-C02F7B0F3751}"/>
                  </a:ext>
                </a:extLst>
              </p:cNvPr>
              <p:cNvSpPr/>
              <p:nvPr/>
            </p:nvSpPr>
            <p:spPr>
              <a:xfrm>
                <a:off x="9150148" y="5109368"/>
                <a:ext cx="1479682" cy="88719"/>
              </a:xfrm>
              <a:custGeom>
                <a:avLst/>
                <a:gdLst/>
                <a:ahLst/>
                <a:cxnLst/>
                <a:rect l="l" t="t" r="r" b="b"/>
                <a:pathLst>
                  <a:path w="1479682" h="88719" extrusionOk="0">
                    <a:moveTo>
                      <a:pt x="0" y="0"/>
                    </a:moveTo>
                    <a:lnTo>
                      <a:pt x="1479683" y="0"/>
                    </a:lnTo>
                    <a:lnTo>
                      <a:pt x="1479683" y="88719"/>
                    </a:lnTo>
                    <a:lnTo>
                      <a:pt x="0" y="88719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46" name="Google Shape;3183;p70">
                <a:extLst>
                  <a:ext uri="{FF2B5EF4-FFF2-40B4-BE49-F238E27FC236}">
                    <a16:creationId xmlns:a16="http://schemas.microsoft.com/office/drawing/2014/main" id="{C9614337-C273-EE32-9339-C58B867F19A1}"/>
                  </a:ext>
                </a:extLst>
              </p:cNvPr>
              <p:cNvSpPr/>
              <p:nvPr/>
            </p:nvSpPr>
            <p:spPr>
              <a:xfrm>
                <a:off x="9150148" y="5327855"/>
                <a:ext cx="1479682" cy="88719"/>
              </a:xfrm>
              <a:custGeom>
                <a:avLst/>
                <a:gdLst/>
                <a:ahLst/>
                <a:cxnLst/>
                <a:rect l="l" t="t" r="r" b="b"/>
                <a:pathLst>
                  <a:path w="1479682" h="88719" extrusionOk="0">
                    <a:moveTo>
                      <a:pt x="0" y="0"/>
                    </a:moveTo>
                    <a:lnTo>
                      <a:pt x="1479683" y="0"/>
                    </a:lnTo>
                    <a:lnTo>
                      <a:pt x="1479683" y="88719"/>
                    </a:lnTo>
                    <a:lnTo>
                      <a:pt x="0" y="88719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grpSp>
            <p:nvGrpSpPr>
              <p:cNvPr id="47" name="Google Shape;3184;p70">
                <a:extLst>
                  <a:ext uri="{FF2B5EF4-FFF2-40B4-BE49-F238E27FC236}">
                    <a16:creationId xmlns:a16="http://schemas.microsoft.com/office/drawing/2014/main" id="{C2350CDD-F07B-4FA1-4BCE-1AAB36ED554F}"/>
                  </a:ext>
                </a:extLst>
              </p:cNvPr>
              <p:cNvGrpSpPr/>
              <p:nvPr/>
            </p:nvGrpSpPr>
            <p:grpSpPr>
              <a:xfrm>
                <a:off x="8147165" y="4666066"/>
                <a:ext cx="750508" cy="750508"/>
                <a:chOff x="8147165" y="4666066"/>
                <a:chExt cx="750508" cy="750508"/>
              </a:xfrm>
            </p:grpSpPr>
            <p:sp>
              <p:nvSpPr>
                <p:cNvPr id="49" name="Google Shape;3185;p70">
                  <a:extLst>
                    <a:ext uri="{FF2B5EF4-FFF2-40B4-BE49-F238E27FC236}">
                      <a16:creationId xmlns:a16="http://schemas.microsoft.com/office/drawing/2014/main" id="{A3CBBAAE-A919-5191-3EAA-CBCC2D213E57}"/>
                    </a:ext>
                  </a:extLst>
                </p:cNvPr>
                <p:cNvSpPr/>
                <p:nvPr/>
              </p:nvSpPr>
              <p:spPr>
                <a:xfrm>
                  <a:off x="8147165" y="4666066"/>
                  <a:ext cx="750508" cy="750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0508" h="750508" extrusionOk="0">
                      <a:moveTo>
                        <a:pt x="118292" y="750509"/>
                      </a:moveTo>
                      <a:cubicBezTo>
                        <a:pt x="86806" y="750509"/>
                        <a:pt x="57086" y="738150"/>
                        <a:pt x="34723" y="715786"/>
                      </a:cubicBezTo>
                      <a:cubicBezTo>
                        <a:pt x="12359" y="693422"/>
                        <a:pt x="0" y="663702"/>
                        <a:pt x="0" y="632216"/>
                      </a:cubicBezTo>
                      <a:lnTo>
                        <a:pt x="0" y="118292"/>
                      </a:lnTo>
                      <a:cubicBezTo>
                        <a:pt x="0" y="53114"/>
                        <a:pt x="53114" y="0"/>
                        <a:pt x="118292" y="0"/>
                      </a:cubicBezTo>
                      <a:lnTo>
                        <a:pt x="632216" y="0"/>
                      </a:lnTo>
                      <a:cubicBezTo>
                        <a:pt x="697395" y="0"/>
                        <a:pt x="750508" y="53114"/>
                        <a:pt x="750508" y="118292"/>
                      </a:cubicBezTo>
                      <a:lnTo>
                        <a:pt x="750508" y="632216"/>
                      </a:lnTo>
                      <a:cubicBezTo>
                        <a:pt x="750508" y="663702"/>
                        <a:pt x="738149" y="693422"/>
                        <a:pt x="715786" y="715786"/>
                      </a:cubicBezTo>
                      <a:cubicBezTo>
                        <a:pt x="693422" y="738150"/>
                        <a:pt x="663702" y="750509"/>
                        <a:pt x="632216" y="750509"/>
                      </a:cubicBezTo>
                      <a:lnTo>
                        <a:pt x="118292" y="750509"/>
                      </a:lnTo>
                      <a:close/>
                      <a:moveTo>
                        <a:pt x="118292" y="82981"/>
                      </a:moveTo>
                      <a:cubicBezTo>
                        <a:pt x="108876" y="82981"/>
                        <a:pt x="100048" y="86660"/>
                        <a:pt x="93427" y="93281"/>
                      </a:cubicBezTo>
                      <a:cubicBezTo>
                        <a:pt x="86806" y="99901"/>
                        <a:pt x="83128" y="108876"/>
                        <a:pt x="83128" y="118145"/>
                      </a:cubicBezTo>
                      <a:lnTo>
                        <a:pt x="83128" y="632069"/>
                      </a:lnTo>
                      <a:cubicBezTo>
                        <a:pt x="83128" y="651490"/>
                        <a:pt x="99018" y="667381"/>
                        <a:pt x="118439" y="667381"/>
                      </a:cubicBezTo>
                      <a:lnTo>
                        <a:pt x="632216" y="667381"/>
                      </a:lnTo>
                      <a:cubicBezTo>
                        <a:pt x="651637" y="667381"/>
                        <a:pt x="667527" y="651490"/>
                        <a:pt x="667527" y="632069"/>
                      </a:cubicBezTo>
                      <a:lnTo>
                        <a:pt x="667527" y="118145"/>
                      </a:lnTo>
                      <a:cubicBezTo>
                        <a:pt x="667527" y="98724"/>
                        <a:pt x="651784" y="82834"/>
                        <a:pt x="632216" y="82834"/>
                      </a:cubicBezTo>
                      <a:lnTo>
                        <a:pt x="632216" y="82834"/>
                      </a:lnTo>
                      <a:lnTo>
                        <a:pt x="118292" y="82981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dk1"/>
                    </a:buClr>
                    <a:buSzPts val="1800"/>
                    <a:buFont typeface="Arial"/>
                    <a:buNone/>
                  </a:pPr>
                  <a:endParaRPr sz="1800" b="0" i="0" u="none" strike="noStrike" cap="none" dirty="0">
                    <a:solidFill>
                      <a:srgbClr val="000000"/>
                    </a:solidFill>
                    <a:ea typeface="Arial"/>
                    <a:cs typeface="Calibri" panose="020F0502020204030204" pitchFamily="34" charset="0"/>
                    <a:sym typeface="Arial"/>
                  </a:endParaRPr>
                </a:p>
              </p:txBody>
            </p:sp>
            <p:sp>
              <p:nvSpPr>
                <p:cNvPr id="50" name="Google Shape;3186;p70">
                  <a:extLst>
                    <a:ext uri="{FF2B5EF4-FFF2-40B4-BE49-F238E27FC236}">
                      <a16:creationId xmlns:a16="http://schemas.microsoft.com/office/drawing/2014/main" id="{AA9D0C92-FD44-A879-6E09-B8417DCD91C3}"/>
                    </a:ext>
                  </a:extLst>
                </p:cNvPr>
                <p:cNvSpPr/>
                <p:nvPr/>
              </p:nvSpPr>
              <p:spPr>
                <a:xfrm>
                  <a:off x="8272519" y="4854981"/>
                  <a:ext cx="500093" cy="3806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0093" h="380624" extrusionOk="0">
                      <a:moveTo>
                        <a:pt x="210543" y="380624"/>
                      </a:moveTo>
                      <a:lnTo>
                        <a:pt x="0" y="179057"/>
                      </a:lnTo>
                      <a:lnTo>
                        <a:pt x="78714" y="96811"/>
                      </a:lnTo>
                      <a:lnTo>
                        <a:pt x="207159" y="219665"/>
                      </a:lnTo>
                      <a:lnTo>
                        <a:pt x="417848" y="0"/>
                      </a:lnTo>
                      <a:lnTo>
                        <a:pt x="500094" y="78714"/>
                      </a:lnTo>
                      <a:lnTo>
                        <a:pt x="210543" y="380624"/>
                      </a:lnTo>
                      <a:close/>
                    </a:path>
                  </a:pathLst>
                </a:custGeom>
                <a:solidFill>
                  <a:srgbClr val="00D397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dk1"/>
                    </a:buClr>
                    <a:buSzPts val="1800"/>
                    <a:buFont typeface="Arial"/>
                    <a:buNone/>
                  </a:pPr>
                  <a:endParaRPr sz="1800" b="0" i="0" u="none" strike="noStrike" cap="none" dirty="0">
                    <a:solidFill>
                      <a:srgbClr val="000000"/>
                    </a:solidFill>
                    <a:ea typeface="Arial"/>
                    <a:cs typeface="Calibri" panose="020F0502020204030204" pitchFamily="34" charset="0"/>
                    <a:sym typeface="Arial"/>
                  </a:endParaRPr>
                </a:p>
              </p:txBody>
            </p:sp>
          </p:grpSp>
          <p:sp>
            <p:nvSpPr>
              <p:cNvPr id="48" name="Google Shape;3187;p70">
                <a:extLst>
                  <a:ext uri="{FF2B5EF4-FFF2-40B4-BE49-F238E27FC236}">
                    <a16:creationId xmlns:a16="http://schemas.microsoft.com/office/drawing/2014/main" id="{6477B890-B1F0-7719-5961-44265E80811E}"/>
                  </a:ext>
                </a:extLst>
              </p:cNvPr>
              <p:cNvSpPr/>
              <p:nvPr/>
            </p:nvSpPr>
            <p:spPr>
              <a:xfrm rot="-1356795">
                <a:off x="9272077" y="1032264"/>
                <a:ext cx="227457" cy="227162"/>
              </a:xfrm>
              <a:custGeom>
                <a:avLst/>
                <a:gdLst/>
                <a:ahLst/>
                <a:cxnLst/>
                <a:rect l="l" t="t" r="r" b="b"/>
                <a:pathLst>
                  <a:path w="227457" h="227162" extrusionOk="0">
                    <a:moveTo>
                      <a:pt x="227457" y="113581"/>
                    </a:moveTo>
                    <a:cubicBezTo>
                      <a:pt x="227457" y="176311"/>
                      <a:pt x="176539" y="227163"/>
                      <a:pt x="113729" y="227163"/>
                    </a:cubicBezTo>
                    <a:cubicBezTo>
                      <a:pt x="50918" y="227163"/>
                      <a:pt x="0" y="176311"/>
                      <a:pt x="0" y="113581"/>
                    </a:cubicBezTo>
                    <a:cubicBezTo>
                      <a:pt x="0" y="50852"/>
                      <a:pt x="50918" y="0"/>
                      <a:pt x="113729" y="0"/>
                    </a:cubicBezTo>
                    <a:cubicBezTo>
                      <a:pt x="176539" y="0"/>
                      <a:pt x="227457" y="50852"/>
                      <a:pt x="227457" y="11358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</p:grpSp>
        <p:grpSp>
          <p:nvGrpSpPr>
            <p:cNvPr id="6" name="Google Shape;3188;p70">
              <a:extLst>
                <a:ext uri="{FF2B5EF4-FFF2-40B4-BE49-F238E27FC236}">
                  <a16:creationId xmlns:a16="http://schemas.microsoft.com/office/drawing/2014/main" id="{C80C3A95-53D4-AF88-D894-BF053E391039}"/>
                </a:ext>
              </a:extLst>
            </p:cNvPr>
            <p:cNvGrpSpPr/>
            <p:nvPr/>
          </p:nvGrpSpPr>
          <p:grpSpPr>
            <a:xfrm>
              <a:off x="11485096" y="2158388"/>
              <a:ext cx="401074" cy="3343668"/>
              <a:chOff x="11485096" y="2158388"/>
              <a:chExt cx="401074" cy="3343668"/>
            </a:xfrm>
          </p:grpSpPr>
          <p:sp>
            <p:nvSpPr>
              <p:cNvPr id="7" name="Google Shape;3189;p70">
                <a:extLst>
                  <a:ext uri="{FF2B5EF4-FFF2-40B4-BE49-F238E27FC236}">
                    <a16:creationId xmlns:a16="http://schemas.microsoft.com/office/drawing/2014/main" id="{576B9440-83D2-73B6-1ECD-D61E73D27FF7}"/>
                  </a:ext>
                </a:extLst>
              </p:cNvPr>
              <p:cNvSpPr/>
              <p:nvPr/>
            </p:nvSpPr>
            <p:spPr>
              <a:xfrm>
                <a:off x="11560131" y="2233571"/>
                <a:ext cx="326039" cy="3268485"/>
              </a:xfrm>
              <a:custGeom>
                <a:avLst/>
                <a:gdLst/>
                <a:ahLst/>
                <a:cxnLst/>
                <a:rect l="l" t="t" r="r" b="b"/>
                <a:pathLst>
                  <a:path w="326039" h="3268485" extrusionOk="0">
                    <a:moveTo>
                      <a:pt x="289993" y="191269"/>
                    </a:moveTo>
                    <a:lnTo>
                      <a:pt x="252916" y="191269"/>
                    </a:lnTo>
                    <a:lnTo>
                      <a:pt x="252916" y="123736"/>
                    </a:lnTo>
                    <a:lnTo>
                      <a:pt x="252916" y="41932"/>
                    </a:lnTo>
                    <a:cubicBezTo>
                      <a:pt x="252916" y="18833"/>
                      <a:pt x="234083" y="0"/>
                      <a:pt x="210984" y="0"/>
                    </a:cubicBezTo>
                    <a:lnTo>
                      <a:pt x="115056" y="0"/>
                    </a:lnTo>
                    <a:cubicBezTo>
                      <a:pt x="91956" y="0"/>
                      <a:pt x="73123" y="18833"/>
                      <a:pt x="73123" y="41932"/>
                    </a:cubicBezTo>
                    <a:lnTo>
                      <a:pt x="73123" y="123883"/>
                    </a:lnTo>
                    <a:lnTo>
                      <a:pt x="73123" y="191416"/>
                    </a:lnTo>
                    <a:lnTo>
                      <a:pt x="36047" y="191416"/>
                    </a:lnTo>
                    <a:cubicBezTo>
                      <a:pt x="16184" y="191416"/>
                      <a:pt x="0" y="207600"/>
                      <a:pt x="0" y="227462"/>
                    </a:cubicBezTo>
                    <a:lnTo>
                      <a:pt x="0" y="317065"/>
                    </a:lnTo>
                    <a:lnTo>
                      <a:pt x="0" y="344136"/>
                    </a:lnTo>
                    <a:lnTo>
                      <a:pt x="0" y="1839415"/>
                    </a:lnTo>
                    <a:lnTo>
                      <a:pt x="53408" y="2831364"/>
                    </a:lnTo>
                    <a:lnTo>
                      <a:pt x="53408" y="2906400"/>
                    </a:lnTo>
                    <a:lnTo>
                      <a:pt x="77096" y="2906400"/>
                    </a:lnTo>
                    <a:lnTo>
                      <a:pt x="110789" y="3178737"/>
                    </a:lnTo>
                    <a:lnTo>
                      <a:pt x="140803" y="3178737"/>
                    </a:lnTo>
                    <a:lnTo>
                      <a:pt x="140803" y="3245534"/>
                    </a:lnTo>
                    <a:cubicBezTo>
                      <a:pt x="140803" y="3258187"/>
                      <a:pt x="150808" y="3268486"/>
                      <a:pt x="163020" y="3268486"/>
                    </a:cubicBezTo>
                    <a:cubicBezTo>
                      <a:pt x="175231" y="3268486"/>
                      <a:pt x="185237" y="3258187"/>
                      <a:pt x="185237" y="3245534"/>
                    </a:cubicBezTo>
                    <a:lnTo>
                      <a:pt x="185237" y="3178737"/>
                    </a:lnTo>
                    <a:lnTo>
                      <a:pt x="215251" y="3178737"/>
                    </a:lnTo>
                    <a:lnTo>
                      <a:pt x="248944" y="2906400"/>
                    </a:lnTo>
                    <a:lnTo>
                      <a:pt x="269689" y="2906400"/>
                    </a:lnTo>
                    <a:lnTo>
                      <a:pt x="272631" y="2906400"/>
                    </a:lnTo>
                    <a:lnTo>
                      <a:pt x="272631" y="2831364"/>
                    </a:lnTo>
                    <a:lnTo>
                      <a:pt x="326039" y="1839415"/>
                    </a:lnTo>
                    <a:lnTo>
                      <a:pt x="326039" y="1839415"/>
                    </a:lnTo>
                    <a:lnTo>
                      <a:pt x="326039" y="1839415"/>
                    </a:lnTo>
                    <a:lnTo>
                      <a:pt x="326039" y="1734218"/>
                    </a:lnTo>
                    <a:lnTo>
                      <a:pt x="326039" y="344283"/>
                    </a:lnTo>
                    <a:lnTo>
                      <a:pt x="326039" y="317212"/>
                    </a:lnTo>
                    <a:lnTo>
                      <a:pt x="326039" y="227610"/>
                    </a:lnTo>
                    <a:cubicBezTo>
                      <a:pt x="326039" y="207453"/>
                      <a:pt x="309708" y="191269"/>
                      <a:pt x="289993" y="191269"/>
                    </a:cubicBezTo>
                    <a:close/>
                  </a:path>
                </a:pathLst>
              </a:custGeom>
              <a:solidFill>
                <a:srgbClr val="000000">
                  <a:alpha val="11764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8" name="Google Shape;3190;p70">
                <a:extLst>
                  <a:ext uri="{FF2B5EF4-FFF2-40B4-BE49-F238E27FC236}">
                    <a16:creationId xmlns:a16="http://schemas.microsoft.com/office/drawing/2014/main" id="{84FF7998-E3FB-941E-F740-334F8B9FB76A}"/>
                  </a:ext>
                </a:extLst>
              </p:cNvPr>
              <p:cNvSpPr/>
              <p:nvPr/>
            </p:nvSpPr>
            <p:spPr>
              <a:xfrm>
                <a:off x="11558219" y="2158388"/>
                <a:ext cx="179792" cy="356789"/>
              </a:xfrm>
              <a:custGeom>
                <a:avLst/>
                <a:gdLst/>
                <a:ahLst/>
                <a:cxnLst/>
                <a:rect l="l" t="t" r="r" b="b"/>
                <a:pathLst>
                  <a:path w="179792" h="356789" extrusionOk="0">
                    <a:moveTo>
                      <a:pt x="137860" y="356789"/>
                    </a:moveTo>
                    <a:lnTo>
                      <a:pt x="41932" y="356789"/>
                    </a:lnTo>
                    <a:cubicBezTo>
                      <a:pt x="18833" y="356789"/>
                      <a:pt x="0" y="337957"/>
                      <a:pt x="0" y="314858"/>
                    </a:cubicBezTo>
                    <a:lnTo>
                      <a:pt x="0" y="41932"/>
                    </a:lnTo>
                    <a:cubicBezTo>
                      <a:pt x="0" y="18833"/>
                      <a:pt x="18833" y="0"/>
                      <a:pt x="41932" y="0"/>
                    </a:cubicBezTo>
                    <a:lnTo>
                      <a:pt x="137860" y="0"/>
                    </a:lnTo>
                    <a:cubicBezTo>
                      <a:pt x="160959" y="0"/>
                      <a:pt x="179792" y="18833"/>
                      <a:pt x="179792" y="41932"/>
                    </a:cubicBezTo>
                    <a:lnTo>
                      <a:pt x="179792" y="314858"/>
                    </a:lnTo>
                    <a:cubicBezTo>
                      <a:pt x="179645" y="337810"/>
                      <a:pt x="160813" y="356789"/>
                      <a:pt x="137860" y="356789"/>
                    </a:cubicBezTo>
                    <a:close/>
                  </a:path>
                </a:pathLst>
              </a:custGeom>
              <a:solidFill>
                <a:srgbClr val="07253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9" name="Google Shape;3191;p70">
                <a:extLst>
                  <a:ext uri="{FF2B5EF4-FFF2-40B4-BE49-F238E27FC236}">
                    <a16:creationId xmlns:a16="http://schemas.microsoft.com/office/drawing/2014/main" id="{40F53272-1E85-A654-7E7C-3463C1F4AAAE}"/>
                  </a:ext>
                </a:extLst>
              </p:cNvPr>
              <p:cNvSpPr/>
              <p:nvPr/>
            </p:nvSpPr>
            <p:spPr>
              <a:xfrm>
                <a:off x="11485096" y="2349803"/>
                <a:ext cx="325893" cy="188767"/>
              </a:xfrm>
              <a:custGeom>
                <a:avLst/>
                <a:gdLst/>
                <a:ahLst/>
                <a:cxnLst/>
                <a:rect l="l" t="t" r="r" b="b"/>
                <a:pathLst>
                  <a:path w="325893" h="188767" extrusionOk="0">
                    <a:moveTo>
                      <a:pt x="289845" y="188767"/>
                    </a:moveTo>
                    <a:lnTo>
                      <a:pt x="36046" y="188767"/>
                    </a:lnTo>
                    <a:cubicBezTo>
                      <a:pt x="16184" y="188767"/>
                      <a:pt x="0" y="172583"/>
                      <a:pt x="0" y="152721"/>
                    </a:cubicBezTo>
                    <a:lnTo>
                      <a:pt x="0" y="36047"/>
                    </a:lnTo>
                    <a:cubicBezTo>
                      <a:pt x="0" y="16184"/>
                      <a:pt x="16184" y="0"/>
                      <a:pt x="36046" y="0"/>
                    </a:cubicBezTo>
                    <a:lnTo>
                      <a:pt x="289845" y="0"/>
                    </a:lnTo>
                    <a:cubicBezTo>
                      <a:pt x="309708" y="0"/>
                      <a:pt x="325892" y="16184"/>
                      <a:pt x="325892" y="36047"/>
                    </a:cubicBezTo>
                    <a:lnTo>
                      <a:pt x="325892" y="152721"/>
                    </a:lnTo>
                    <a:cubicBezTo>
                      <a:pt x="326039" y="172583"/>
                      <a:pt x="309708" y="188767"/>
                      <a:pt x="289845" y="188767"/>
                    </a:cubicBezTo>
                    <a:close/>
                  </a:path>
                </a:pathLst>
              </a:custGeom>
              <a:solidFill>
                <a:srgbClr val="07253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10" name="Google Shape;3192;p70">
                <a:extLst>
                  <a:ext uri="{FF2B5EF4-FFF2-40B4-BE49-F238E27FC236}">
                    <a16:creationId xmlns:a16="http://schemas.microsoft.com/office/drawing/2014/main" id="{0F03A799-E95B-3F99-6C0C-8B922EA15BCC}"/>
                  </a:ext>
                </a:extLst>
              </p:cNvPr>
              <p:cNvSpPr/>
              <p:nvPr/>
            </p:nvSpPr>
            <p:spPr>
              <a:xfrm>
                <a:off x="11485096" y="2475452"/>
                <a:ext cx="326038" cy="2514298"/>
              </a:xfrm>
              <a:custGeom>
                <a:avLst/>
                <a:gdLst/>
                <a:ahLst/>
                <a:cxnLst/>
                <a:rect l="l" t="t" r="r" b="b"/>
                <a:pathLst>
                  <a:path w="326038" h="2514298" extrusionOk="0">
                    <a:moveTo>
                      <a:pt x="163019" y="0"/>
                    </a:moveTo>
                    <a:lnTo>
                      <a:pt x="163019" y="0"/>
                    </a:lnTo>
                    <a:lnTo>
                      <a:pt x="0" y="0"/>
                    </a:lnTo>
                    <a:lnTo>
                      <a:pt x="0" y="1522351"/>
                    </a:lnTo>
                    <a:lnTo>
                      <a:pt x="53408" y="2514299"/>
                    </a:lnTo>
                    <a:lnTo>
                      <a:pt x="163019" y="2514299"/>
                    </a:lnTo>
                    <a:lnTo>
                      <a:pt x="163019" y="2514299"/>
                    </a:lnTo>
                    <a:lnTo>
                      <a:pt x="272631" y="2514299"/>
                    </a:lnTo>
                    <a:lnTo>
                      <a:pt x="326039" y="1522351"/>
                    </a:lnTo>
                    <a:lnTo>
                      <a:pt x="32603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11" name="Google Shape;3193;p70">
                <a:extLst>
                  <a:ext uri="{FF2B5EF4-FFF2-40B4-BE49-F238E27FC236}">
                    <a16:creationId xmlns:a16="http://schemas.microsoft.com/office/drawing/2014/main" id="{56E33B4A-F47F-3254-EF73-05B0591C6482}"/>
                  </a:ext>
                </a:extLst>
              </p:cNvPr>
              <p:cNvSpPr/>
              <p:nvPr/>
            </p:nvSpPr>
            <p:spPr>
              <a:xfrm>
                <a:off x="11661357" y="2475452"/>
                <a:ext cx="149777" cy="2514298"/>
              </a:xfrm>
              <a:custGeom>
                <a:avLst/>
                <a:gdLst/>
                <a:ahLst/>
                <a:cxnLst/>
                <a:rect l="l" t="t" r="r" b="b"/>
                <a:pathLst>
                  <a:path w="149777" h="2514298" extrusionOk="0">
                    <a:moveTo>
                      <a:pt x="53408" y="0"/>
                    </a:moveTo>
                    <a:lnTo>
                      <a:pt x="53408" y="1522351"/>
                    </a:lnTo>
                    <a:lnTo>
                      <a:pt x="0" y="2514299"/>
                    </a:lnTo>
                    <a:lnTo>
                      <a:pt x="96370" y="2514299"/>
                    </a:lnTo>
                    <a:lnTo>
                      <a:pt x="149778" y="1522351"/>
                    </a:lnTo>
                    <a:lnTo>
                      <a:pt x="149778" y="0"/>
                    </a:lnTo>
                    <a:close/>
                  </a:path>
                </a:pathLst>
              </a:custGeom>
              <a:solidFill>
                <a:srgbClr val="07253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12" name="Google Shape;3194;p70">
                <a:extLst>
                  <a:ext uri="{FF2B5EF4-FFF2-40B4-BE49-F238E27FC236}">
                    <a16:creationId xmlns:a16="http://schemas.microsoft.com/office/drawing/2014/main" id="{CAF86F86-4E68-1C59-97BD-BD1B337B7029}"/>
                  </a:ext>
                </a:extLst>
              </p:cNvPr>
              <p:cNvSpPr/>
              <p:nvPr/>
            </p:nvSpPr>
            <p:spPr>
              <a:xfrm>
                <a:off x="11533648" y="4884407"/>
                <a:ext cx="228786" cy="105344"/>
              </a:xfrm>
              <a:custGeom>
                <a:avLst/>
                <a:gdLst/>
                <a:ahLst/>
                <a:cxnLst/>
                <a:rect l="l" t="t" r="r" b="b"/>
                <a:pathLst>
                  <a:path w="228786" h="105344" extrusionOk="0">
                    <a:moveTo>
                      <a:pt x="0" y="0"/>
                    </a:moveTo>
                    <a:lnTo>
                      <a:pt x="5296" y="105344"/>
                    </a:lnTo>
                    <a:lnTo>
                      <a:pt x="114467" y="105344"/>
                    </a:lnTo>
                    <a:lnTo>
                      <a:pt x="114467" y="105344"/>
                    </a:lnTo>
                    <a:lnTo>
                      <a:pt x="224079" y="105344"/>
                    </a:lnTo>
                    <a:lnTo>
                      <a:pt x="228786" y="0"/>
                    </a:lnTo>
                    <a:close/>
                  </a:path>
                </a:pathLst>
              </a:custGeom>
              <a:solidFill>
                <a:srgbClr val="FFE96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13" name="Google Shape;3195;p70">
                <a:extLst>
                  <a:ext uri="{FF2B5EF4-FFF2-40B4-BE49-F238E27FC236}">
                    <a16:creationId xmlns:a16="http://schemas.microsoft.com/office/drawing/2014/main" id="{43DDA8D5-30D5-9EA8-D39C-FBC44032445B}"/>
                  </a:ext>
                </a:extLst>
              </p:cNvPr>
              <p:cNvSpPr/>
              <p:nvPr/>
            </p:nvSpPr>
            <p:spPr>
              <a:xfrm>
                <a:off x="11625898" y="5197793"/>
                <a:ext cx="44433" cy="229081"/>
              </a:xfrm>
              <a:custGeom>
                <a:avLst/>
                <a:gdLst/>
                <a:ahLst/>
                <a:cxnLst/>
                <a:rect l="l" t="t" r="r" b="b"/>
                <a:pathLst>
                  <a:path w="44433" h="229081" extrusionOk="0">
                    <a:moveTo>
                      <a:pt x="22217" y="229081"/>
                    </a:moveTo>
                    <a:cubicBezTo>
                      <a:pt x="10005" y="229081"/>
                      <a:pt x="0" y="218782"/>
                      <a:pt x="0" y="206129"/>
                    </a:cubicBezTo>
                    <a:lnTo>
                      <a:pt x="0" y="22952"/>
                    </a:lnTo>
                    <a:cubicBezTo>
                      <a:pt x="0" y="10299"/>
                      <a:pt x="10005" y="0"/>
                      <a:pt x="22217" y="0"/>
                    </a:cubicBezTo>
                    <a:cubicBezTo>
                      <a:pt x="34428" y="0"/>
                      <a:pt x="44433" y="10299"/>
                      <a:pt x="44433" y="22952"/>
                    </a:cubicBezTo>
                    <a:lnTo>
                      <a:pt x="44433" y="206129"/>
                    </a:lnTo>
                    <a:cubicBezTo>
                      <a:pt x="44433" y="218782"/>
                      <a:pt x="34428" y="229081"/>
                      <a:pt x="22217" y="229081"/>
                    </a:cubicBezTo>
                    <a:close/>
                  </a:path>
                </a:pathLst>
              </a:custGeom>
              <a:solidFill>
                <a:srgbClr val="07253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14" name="Google Shape;3196;p70">
                <a:extLst>
                  <a:ext uri="{FF2B5EF4-FFF2-40B4-BE49-F238E27FC236}">
                    <a16:creationId xmlns:a16="http://schemas.microsoft.com/office/drawing/2014/main" id="{4DA1E07A-592C-5BDF-26AB-65DFEDE80DEA}"/>
                  </a:ext>
                </a:extLst>
              </p:cNvPr>
              <p:cNvSpPr/>
              <p:nvPr/>
            </p:nvSpPr>
            <p:spPr>
              <a:xfrm>
                <a:off x="11485096" y="3892458"/>
                <a:ext cx="326039" cy="105344"/>
              </a:xfrm>
              <a:custGeom>
                <a:avLst/>
                <a:gdLst/>
                <a:ahLst/>
                <a:cxnLst/>
                <a:rect l="l" t="t" r="r" b="b"/>
                <a:pathLst>
                  <a:path w="326039" h="105344" extrusionOk="0">
                    <a:moveTo>
                      <a:pt x="0" y="0"/>
                    </a:moveTo>
                    <a:lnTo>
                      <a:pt x="326040" y="0"/>
                    </a:lnTo>
                    <a:lnTo>
                      <a:pt x="326040" y="105345"/>
                    </a:lnTo>
                    <a:lnTo>
                      <a:pt x="0" y="105345"/>
                    </a:lnTo>
                    <a:close/>
                  </a:path>
                </a:pathLst>
              </a:custGeom>
              <a:solidFill>
                <a:srgbClr val="FFE96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15" name="Google Shape;3197;p70">
                <a:extLst>
                  <a:ext uri="{FF2B5EF4-FFF2-40B4-BE49-F238E27FC236}">
                    <a16:creationId xmlns:a16="http://schemas.microsoft.com/office/drawing/2014/main" id="{5CB025F0-FD47-423C-A509-C3B7DED9ADF6}"/>
                  </a:ext>
                </a:extLst>
              </p:cNvPr>
              <p:cNvSpPr/>
              <p:nvPr/>
            </p:nvSpPr>
            <p:spPr>
              <a:xfrm>
                <a:off x="11538503" y="4989751"/>
                <a:ext cx="219223" cy="75036"/>
              </a:xfrm>
              <a:custGeom>
                <a:avLst/>
                <a:gdLst/>
                <a:ahLst/>
                <a:cxnLst/>
                <a:rect l="l" t="t" r="r" b="b"/>
                <a:pathLst>
                  <a:path w="219223" h="75036" extrusionOk="0">
                    <a:moveTo>
                      <a:pt x="216281" y="0"/>
                    </a:moveTo>
                    <a:lnTo>
                      <a:pt x="165815" y="0"/>
                    </a:lnTo>
                    <a:lnTo>
                      <a:pt x="0" y="0"/>
                    </a:lnTo>
                    <a:lnTo>
                      <a:pt x="0" y="75036"/>
                    </a:lnTo>
                    <a:lnTo>
                      <a:pt x="165815" y="75036"/>
                    </a:lnTo>
                    <a:lnTo>
                      <a:pt x="216281" y="75036"/>
                    </a:lnTo>
                    <a:lnTo>
                      <a:pt x="219224" y="75036"/>
                    </a:lnTo>
                    <a:lnTo>
                      <a:pt x="219224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16" name="Google Shape;3198;p70">
                <a:extLst>
                  <a:ext uri="{FF2B5EF4-FFF2-40B4-BE49-F238E27FC236}">
                    <a16:creationId xmlns:a16="http://schemas.microsoft.com/office/drawing/2014/main" id="{68C66FA1-7481-4560-9030-F26451A0880E}"/>
                  </a:ext>
                </a:extLst>
              </p:cNvPr>
              <p:cNvSpPr/>
              <p:nvPr/>
            </p:nvSpPr>
            <p:spPr>
              <a:xfrm>
                <a:off x="11562192" y="5064787"/>
                <a:ext cx="171847" cy="272337"/>
              </a:xfrm>
              <a:custGeom>
                <a:avLst/>
                <a:gdLst/>
                <a:ahLst/>
                <a:cxnLst/>
                <a:rect l="l" t="t" r="r" b="b"/>
                <a:pathLst>
                  <a:path w="171847" h="272337" extrusionOk="0">
                    <a:moveTo>
                      <a:pt x="0" y="0"/>
                    </a:moveTo>
                    <a:lnTo>
                      <a:pt x="33693" y="272337"/>
                    </a:lnTo>
                    <a:lnTo>
                      <a:pt x="138155" y="272337"/>
                    </a:lnTo>
                    <a:lnTo>
                      <a:pt x="171847" y="0"/>
                    </a:lnTo>
                    <a:close/>
                  </a:path>
                </a:pathLst>
              </a:custGeom>
              <a:solidFill>
                <a:srgbClr val="07253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17" name="Google Shape;3199;p70">
                <a:extLst>
                  <a:ext uri="{FF2B5EF4-FFF2-40B4-BE49-F238E27FC236}">
                    <a16:creationId xmlns:a16="http://schemas.microsoft.com/office/drawing/2014/main" id="{E4014331-D3FE-3735-20A4-63DA34B581FF}"/>
                  </a:ext>
                </a:extLst>
              </p:cNvPr>
              <p:cNvSpPr/>
              <p:nvPr/>
            </p:nvSpPr>
            <p:spPr>
              <a:xfrm>
                <a:off x="11714765" y="3892458"/>
                <a:ext cx="96369" cy="105197"/>
              </a:xfrm>
              <a:custGeom>
                <a:avLst/>
                <a:gdLst/>
                <a:ahLst/>
                <a:cxnLst/>
                <a:rect l="l" t="t" r="r" b="b"/>
                <a:pathLst>
                  <a:path w="96369" h="105197" extrusionOk="0">
                    <a:moveTo>
                      <a:pt x="0" y="0"/>
                    </a:moveTo>
                    <a:lnTo>
                      <a:pt x="96370" y="0"/>
                    </a:lnTo>
                    <a:lnTo>
                      <a:pt x="96370" y="105198"/>
                    </a:lnTo>
                    <a:lnTo>
                      <a:pt x="0" y="105198"/>
                    </a:lnTo>
                    <a:close/>
                  </a:path>
                </a:pathLst>
              </a:custGeom>
              <a:solidFill>
                <a:srgbClr val="F4B30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18" name="Google Shape;3200;p70">
                <a:extLst>
                  <a:ext uri="{FF2B5EF4-FFF2-40B4-BE49-F238E27FC236}">
                    <a16:creationId xmlns:a16="http://schemas.microsoft.com/office/drawing/2014/main" id="{FCD91466-8931-67A2-57E7-6EE05069E09B}"/>
                  </a:ext>
                </a:extLst>
              </p:cNvPr>
              <p:cNvSpPr/>
              <p:nvPr/>
            </p:nvSpPr>
            <p:spPr>
              <a:xfrm>
                <a:off x="11666212" y="4884407"/>
                <a:ext cx="96222" cy="105344"/>
              </a:xfrm>
              <a:custGeom>
                <a:avLst/>
                <a:gdLst/>
                <a:ahLst/>
                <a:cxnLst/>
                <a:rect l="l" t="t" r="r" b="b"/>
                <a:pathLst>
                  <a:path w="96222" h="105344" extrusionOk="0">
                    <a:moveTo>
                      <a:pt x="0" y="0"/>
                    </a:moveTo>
                    <a:lnTo>
                      <a:pt x="0" y="105344"/>
                    </a:lnTo>
                    <a:lnTo>
                      <a:pt x="91515" y="105344"/>
                    </a:lnTo>
                    <a:lnTo>
                      <a:pt x="96222" y="0"/>
                    </a:lnTo>
                    <a:close/>
                  </a:path>
                </a:pathLst>
              </a:custGeom>
              <a:solidFill>
                <a:srgbClr val="F4B30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19" name="Google Shape;3201;p70">
                <a:extLst>
                  <a:ext uri="{FF2B5EF4-FFF2-40B4-BE49-F238E27FC236}">
                    <a16:creationId xmlns:a16="http://schemas.microsoft.com/office/drawing/2014/main" id="{E19FC903-1CB2-66AB-975B-13A68175CBE2}"/>
                  </a:ext>
                </a:extLst>
              </p:cNvPr>
              <p:cNvSpPr/>
              <p:nvPr/>
            </p:nvSpPr>
            <p:spPr>
              <a:xfrm>
                <a:off x="11558219" y="2282271"/>
                <a:ext cx="179645" cy="67532"/>
              </a:xfrm>
              <a:custGeom>
                <a:avLst/>
                <a:gdLst/>
                <a:ahLst/>
                <a:cxnLst/>
                <a:rect l="l" t="t" r="r" b="b"/>
                <a:pathLst>
                  <a:path w="179645" h="67532" extrusionOk="0">
                    <a:moveTo>
                      <a:pt x="0" y="0"/>
                    </a:moveTo>
                    <a:lnTo>
                      <a:pt x="179645" y="0"/>
                    </a:lnTo>
                    <a:lnTo>
                      <a:pt x="179645" y="67532"/>
                    </a:lnTo>
                    <a:lnTo>
                      <a:pt x="0" y="6753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20" name="Google Shape;3202;p70">
                <a:extLst>
                  <a:ext uri="{FF2B5EF4-FFF2-40B4-BE49-F238E27FC236}">
                    <a16:creationId xmlns:a16="http://schemas.microsoft.com/office/drawing/2014/main" id="{FF13EE05-D411-2E5E-E738-788972144926}"/>
                  </a:ext>
                </a:extLst>
              </p:cNvPr>
              <p:cNvSpPr/>
              <p:nvPr/>
            </p:nvSpPr>
            <p:spPr>
              <a:xfrm>
                <a:off x="11594707" y="2645534"/>
                <a:ext cx="114466" cy="809066"/>
              </a:xfrm>
              <a:custGeom>
                <a:avLst/>
                <a:gdLst/>
                <a:ahLst/>
                <a:cxnLst/>
                <a:rect l="l" t="t" r="r" b="b"/>
                <a:pathLst>
                  <a:path w="114466" h="809066" extrusionOk="0">
                    <a:moveTo>
                      <a:pt x="104462" y="809066"/>
                    </a:moveTo>
                    <a:lnTo>
                      <a:pt x="10005" y="809066"/>
                    </a:lnTo>
                    <a:cubicBezTo>
                      <a:pt x="4561" y="809066"/>
                      <a:pt x="0" y="804652"/>
                      <a:pt x="0" y="799061"/>
                    </a:cubicBezTo>
                    <a:lnTo>
                      <a:pt x="0" y="10005"/>
                    </a:lnTo>
                    <a:cubicBezTo>
                      <a:pt x="0" y="4561"/>
                      <a:pt x="4414" y="0"/>
                      <a:pt x="10005" y="0"/>
                    </a:cubicBezTo>
                    <a:lnTo>
                      <a:pt x="104462" y="0"/>
                    </a:lnTo>
                    <a:cubicBezTo>
                      <a:pt x="109906" y="0"/>
                      <a:pt x="114467" y="4414"/>
                      <a:pt x="114467" y="10005"/>
                    </a:cubicBezTo>
                    <a:lnTo>
                      <a:pt x="114467" y="799061"/>
                    </a:lnTo>
                    <a:cubicBezTo>
                      <a:pt x="114467" y="804652"/>
                      <a:pt x="110053" y="809066"/>
                      <a:pt x="104462" y="809066"/>
                    </a:cubicBezTo>
                    <a:close/>
                  </a:path>
                </a:pathLst>
              </a:custGeom>
              <a:solidFill>
                <a:srgbClr val="FFDD5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21" name="Google Shape;3203;p70">
                <a:extLst>
                  <a:ext uri="{FF2B5EF4-FFF2-40B4-BE49-F238E27FC236}">
                    <a16:creationId xmlns:a16="http://schemas.microsoft.com/office/drawing/2014/main" id="{49343B8B-CC2C-E930-C0EB-08548BAF0AC7}"/>
                  </a:ext>
                </a:extLst>
              </p:cNvPr>
              <p:cNvSpPr/>
              <p:nvPr/>
            </p:nvSpPr>
            <p:spPr>
              <a:xfrm>
                <a:off x="11594854" y="3565389"/>
                <a:ext cx="114319" cy="94015"/>
              </a:xfrm>
              <a:custGeom>
                <a:avLst/>
                <a:gdLst/>
                <a:ahLst/>
                <a:cxnLst/>
                <a:rect l="l" t="t" r="r" b="b"/>
                <a:pathLst>
                  <a:path w="114319" h="94015" extrusionOk="0">
                    <a:moveTo>
                      <a:pt x="74742" y="40755"/>
                    </a:moveTo>
                    <a:lnTo>
                      <a:pt x="39578" y="40755"/>
                    </a:lnTo>
                    <a:cubicBezTo>
                      <a:pt x="17655" y="40755"/>
                      <a:pt x="0" y="22511"/>
                      <a:pt x="0" y="0"/>
                    </a:cubicBezTo>
                    <a:lnTo>
                      <a:pt x="0" y="53261"/>
                    </a:lnTo>
                    <a:cubicBezTo>
                      <a:pt x="0" y="75772"/>
                      <a:pt x="17803" y="94016"/>
                      <a:pt x="39578" y="94016"/>
                    </a:cubicBezTo>
                    <a:lnTo>
                      <a:pt x="74742" y="94016"/>
                    </a:lnTo>
                    <a:cubicBezTo>
                      <a:pt x="96664" y="94016"/>
                      <a:pt x="114320" y="75772"/>
                      <a:pt x="114320" y="53261"/>
                    </a:cubicBezTo>
                    <a:lnTo>
                      <a:pt x="114320" y="0"/>
                    </a:lnTo>
                    <a:cubicBezTo>
                      <a:pt x="114320" y="22511"/>
                      <a:pt x="96664" y="40755"/>
                      <a:pt x="74742" y="40755"/>
                    </a:cubicBezTo>
                    <a:close/>
                  </a:path>
                </a:pathLst>
              </a:custGeom>
              <a:solidFill>
                <a:srgbClr val="353D4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22" name="Google Shape;3204;p70">
                <a:extLst>
                  <a:ext uri="{FF2B5EF4-FFF2-40B4-BE49-F238E27FC236}">
                    <a16:creationId xmlns:a16="http://schemas.microsoft.com/office/drawing/2014/main" id="{37A9B4D4-6D4D-3204-EF6F-FDF93A9F6537}"/>
                  </a:ext>
                </a:extLst>
              </p:cNvPr>
              <p:cNvSpPr/>
              <p:nvPr/>
            </p:nvSpPr>
            <p:spPr>
              <a:xfrm>
                <a:off x="11594854" y="2645828"/>
                <a:ext cx="114319" cy="964729"/>
              </a:xfrm>
              <a:custGeom>
                <a:avLst/>
                <a:gdLst/>
                <a:ahLst/>
                <a:cxnLst/>
                <a:rect l="l" t="t" r="r" b="b"/>
                <a:pathLst>
                  <a:path w="114319" h="964729" extrusionOk="0">
                    <a:moveTo>
                      <a:pt x="74153" y="964729"/>
                    </a:moveTo>
                    <a:lnTo>
                      <a:pt x="40167" y="964729"/>
                    </a:lnTo>
                    <a:cubicBezTo>
                      <a:pt x="17950" y="964729"/>
                      <a:pt x="0" y="946780"/>
                      <a:pt x="0" y="924563"/>
                    </a:cubicBezTo>
                    <a:lnTo>
                      <a:pt x="0" y="40166"/>
                    </a:lnTo>
                    <a:cubicBezTo>
                      <a:pt x="0" y="17950"/>
                      <a:pt x="17950" y="0"/>
                      <a:pt x="40167" y="0"/>
                    </a:cubicBezTo>
                    <a:lnTo>
                      <a:pt x="74153" y="0"/>
                    </a:lnTo>
                    <a:cubicBezTo>
                      <a:pt x="96370" y="0"/>
                      <a:pt x="114320" y="17950"/>
                      <a:pt x="114320" y="40166"/>
                    </a:cubicBezTo>
                    <a:lnTo>
                      <a:pt x="114320" y="924563"/>
                    </a:lnTo>
                    <a:cubicBezTo>
                      <a:pt x="114320" y="946632"/>
                      <a:pt x="96370" y="964729"/>
                      <a:pt x="74153" y="964729"/>
                    </a:cubicBezTo>
                    <a:close/>
                  </a:path>
                </a:pathLst>
              </a:custGeom>
              <a:solidFill>
                <a:srgbClr val="FFDD5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23" name="Google Shape;3205;p70">
                <a:extLst>
                  <a:ext uri="{FF2B5EF4-FFF2-40B4-BE49-F238E27FC236}">
                    <a16:creationId xmlns:a16="http://schemas.microsoft.com/office/drawing/2014/main" id="{B6D9C2C9-B93D-9141-94B0-56F9FD4FB0A9}"/>
                  </a:ext>
                </a:extLst>
              </p:cNvPr>
              <p:cNvSpPr/>
              <p:nvPr/>
            </p:nvSpPr>
            <p:spPr>
              <a:xfrm>
                <a:off x="11594854" y="3516542"/>
                <a:ext cx="114319" cy="94015"/>
              </a:xfrm>
              <a:custGeom>
                <a:avLst/>
                <a:gdLst/>
                <a:ahLst/>
                <a:cxnLst/>
                <a:rect l="l" t="t" r="r" b="b"/>
                <a:pathLst>
                  <a:path w="114319" h="94015" extrusionOk="0">
                    <a:moveTo>
                      <a:pt x="74742" y="40755"/>
                    </a:moveTo>
                    <a:lnTo>
                      <a:pt x="39578" y="40755"/>
                    </a:lnTo>
                    <a:cubicBezTo>
                      <a:pt x="17655" y="40755"/>
                      <a:pt x="0" y="22511"/>
                      <a:pt x="0" y="0"/>
                    </a:cubicBezTo>
                    <a:lnTo>
                      <a:pt x="0" y="53261"/>
                    </a:lnTo>
                    <a:cubicBezTo>
                      <a:pt x="0" y="75772"/>
                      <a:pt x="17803" y="94016"/>
                      <a:pt x="39578" y="94016"/>
                    </a:cubicBezTo>
                    <a:lnTo>
                      <a:pt x="74742" y="94016"/>
                    </a:lnTo>
                    <a:cubicBezTo>
                      <a:pt x="96664" y="94016"/>
                      <a:pt x="114320" y="75772"/>
                      <a:pt x="114320" y="53261"/>
                    </a:cubicBezTo>
                    <a:lnTo>
                      <a:pt x="114320" y="0"/>
                    </a:lnTo>
                    <a:cubicBezTo>
                      <a:pt x="114320" y="22511"/>
                      <a:pt x="96664" y="40755"/>
                      <a:pt x="74742" y="40755"/>
                    </a:cubicBezTo>
                    <a:close/>
                  </a:path>
                </a:pathLst>
              </a:custGeom>
              <a:solidFill>
                <a:srgbClr val="FEFFC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ea typeface="Arial"/>
                  <a:cs typeface="Calibri" panose="020F0502020204030204" pitchFamily="34" charset="0"/>
                  <a:sym typeface="Arial"/>
                </a:endParaRPr>
              </a:p>
            </p:txBody>
          </p:sp>
        </p:grpSp>
      </p:grpSp>
      <p:cxnSp>
        <p:nvCxnSpPr>
          <p:cNvPr id="61" name="Google Shape;3206;p70">
            <a:extLst>
              <a:ext uri="{FF2B5EF4-FFF2-40B4-BE49-F238E27FC236}">
                <a16:creationId xmlns:a16="http://schemas.microsoft.com/office/drawing/2014/main" id="{E5A11702-968E-AF14-2616-719AFA04A4C2}"/>
              </a:ext>
            </a:extLst>
          </p:cNvPr>
          <p:cNvCxnSpPr/>
          <p:nvPr/>
        </p:nvCxnSpPr>
        <p:spPr>
          <a:xfrm>
            <a:off x="1004539" y="2047167"/>
            <a:ext cx="6221707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2" name="Google Shape;3207;p70">
            <a:extLst>
              <a:ext uri="{FF2B5EF4-FFF2-40B4-BE49-F238E27FC236}">
                <a16:creationId xmlns:a16="http://schemas.microsoft.com/office/drawing/2014/main" id="{E748BDED-EC4D-109F-D3AA-3599D30048CA}"/>
              </a:ext>
            </a:extLst>
          </p:cNvPr>
          <p:cNvCxnSpPr/>
          <p:nvPr/>
        </p:nvCxnSpPr>
        <p:spPr>
          <a:xfrm>
            <a:off x="1004539" y="2734672"/>
            <a:ext cx="6221707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3" name="Google Shape;3208;p70">
            <a:extLst>
              <a:ext uri="{FF2B5EF4-FFF2-40B4-BE49-F238E27FC236}">
                <a16:creationId xmlns:a16="http://schemas.microsoft.com/office/drawing/2014/main" id="{2275C9AE-D5C0-2A97-06BE-A4E0C1B141AE}"/>
              </a:ext>
            </a:extLst>
          </p:cNvPr>
          <p:cNvCxnSpPr/>
          <p:nvPr/>
        </p:nvCxnSpPr>
        <p:spPr>
          <a:xfrm>
            <a:off x="1004539" y="3422177"/>
            <a:ext cx="6221707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4" name="Google Shape;3209;p70">
            <a:extLst>
              <a:ext uri="{FF2B5EF4-FFF2-40B4-BE49-F238E27FC236}">
                <a16:creationId xmlns:a16="http://schemas.microsoft.com/office/drawing/2014/main" id="{E3DFB7BF-8226-D32A-09C6-CBA8B273D59C}"/>
              </a:ext>
            </a:extLst>
          </p:cNvPr>
          <p:cNvCxnSpPr/>
          <p:nvPr/>
        </p:nvCxnSpPr>
        <p:spPr>
          <a:xfrm>
            <a:off x="1004539" y="4109682"/>
            <a:ext cx="6221707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5" name="Google Shape;3210;p70">
            <a:extLst>
              <a:ext uri="{FF2B5EF4-FFF2-40B4-BE49-F238E27FC236}">
                <a16:creationId xmlns:a16="http://schemas.microsoft.com/office/drawing/2014/main" id="{B2524AC2-94C5-25FE-FBFE-C0141E49092A}"/>
              </a:ext>
            </a:extLst>
          </p:cNvPr>
          <p:cNvCxnSpPr/>
          <p:nvPr/>
        </p:nvCxnSpPr>
        <p:spPr>
          <a:xfrm>
            <a:off x="1004539" y="4797187"/>
            <a:ext cx="6221707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6" name="Google Shape;3211;p70">
            <a:extLst>
              <a:ext uri="{FF2B5EF4-FFF2-40B4-BE49-F238E27FC236}">
                <a16:creationId xmlns:a16="http://schemas.microsoft.com/office/drawing/2014/main" id="{85B282D7-09DC-8E37-CB98-69E411779076}"/>
              </a:ext>
            </a:extLst>
          </p:cNvPr>
          <p:cNvCxnSpPr/>
          <p:nvPr/>
        </p:nvCxnSpPr>
        <p:spPr>
          <a:xfrm>
            <a:off x="1004539" y="5484692"/>
            <a:ext cx="6221707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3212;p70">
            <a:extLst>
              <a:ext uri="{FF2B5EF4-FFF2-40B4-BE49-F238E27FC236}">
                <a16:creationId xmlns:a16="http://schemas.microsoft.com/office/drawing/2014/main" id="{CB3B8EF1-2267-DEFA-3C8C-2ABC09C6AA6D}"/>
              </a:ext>
            </a:extLst>
          </p:cNvPr>
          <p:cNvSpPr/>
          <p:nvPr/>
        </p:nvSpPr>
        <p:spPr>
          <a:xfrm>
            <a:off x="692554" y="1312754"/>
            <a:ext cx="10885723" cy="4859445"/>
          </a:xfrm>
          <a:custGeom>
            <a:avLst/>
            <a:gdLst/>
            <a:ahLst/>
            <a:cxnLst/>
            <a:rect l="l" t="t" r="r" b="b"/>
            <a:pathLst>
              <a:path w="5694557" h="2914185" extrusionOk="0">
                <a:moveTo>
                  <a:pt x="5694557" y="0"/>
                </a:moveTo>
                <a:lnTo>
                  <a:pt x="0" y="0"/>
                </a:lnTo>
                <a:lnTo>
                  <a:pt x="0" y="2914185"/>
                </a:lnTo>
              </a:path>
            </a:pathLst>
          </a:custGeom>
          <a:noFill/>
          <a:ln w="9525" cap="flat" cmpd="sng">
            <a:solidFill>
              <a:schemeClr val="accent1"/>
            </a:solidFill>
            <a:prstDash val="solid"/>
            <a:miter lim="800000"/>
            <a:headEnd type="diamond" w="med" len="med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398"/>
              <a:buFont typeface="Arial"/>
              <a:buNone/>
            </a:pPr>
            <a:endParaRPr sz="2398" b="0" i="0" u="none" strike="noStrike" cap="none" dirty="0">
              <a:solidFill>
                <a:srgbClr val="FFFFFF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68" name="Google Shape;3213;p70">
            <a:extLst>
              <a:ext uri="{FF2B5EF4-FFF2-40B4-BE49-F238E27FC236}">
                <a16:creationId xmlns:a16="http://schemas.microsoft.com/office/drawing/2014/main" id="{5B247030-2CC7-5830-8387-800795E0EB72}"/>
              </a:ext>
            </a:extLst>
          </p:cNvPr>
          <p:cNvSpPr txBox="1"/>
          <p:nvPr/>
        </p:nvSpPr>
        <p:spPr>
          <a:xfrm>
            <a:off x="1004539" y="1549526"/>
            <a:ext cx="6221707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rPr>
              <a:t>Insert Text Here</a:t>
            </a:r>
            <a:endParaRPr dirty="0"/>
          </a:p>
        </p:txBody>
      </p:sp>
      <p:sp>
        <p:nvSpPr>
          <p:cNvPr id="69" name="Google Shape;3214;p70">
            <a:extLst>
              <a:ext uri="{FF2B5EF4-FFF2-40B4-BE49-F238E27FC236}">
                <a16:creationId xmlns:a16="http://schemas.microsoft.com/office/drawing/2014/main" id="{8A2D06EE-E53A-641E-2A37-B2B34654A08A}"/>
              </a:ext>
            </a:extLst>
          </p:cNvPr>
          <p:cNvSpPr/>
          <p:nvPr/>
        </p:nvSpPr>
        <p:spPr>
          <a:xfrm rot="8072477" flipH="1">
            <a:off x="576509" y="1583271"/>
            <a:ext cx="229854" cy="240287"/>
          </a:xfrm>
          <a:prstGeom prst="ellipse">
            <a:avLst/>
          </a:prstGeom>
          <a:solidFill>
            <a:schemeClr val="accent2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62400" tIns="81200" rIns="162400" bIns="812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197"/>
              <a:buFont typeface="Arial"/>
              <a:buNone/>
            </a:pPr>
            <a:endParaRPr sz="3197" b="0" i="0" u="none" strike="noStrike" cap="none" dirty="0">
              <a:solidFill>
                <a:srgbClr val="FFFFFF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70" name="Google Shape;3215;p70">
            <a:extLst>
              <a:ext uri="{FF2B5EF4-FFF2-40B4-BE49-F238E27FC236}">
                <a16:creationId xmlns:a16="http://schemas.microsoft.com/office/drawing/2014/main" id="{C62E33AE-6505-A331-CCA8-18846D2A1100}"/>
              </a:ext>
            </a:extLst>
          </p:cNvPr>
          <p:cNvSpPr/>
          <p:nvPr/>
        </p:nvSpPr>
        <p:spPr>
          <a:xfrm rot="8072477" flipH="1">
            <a:off x="599812" y="1607631"/>
            <a:ext cx="183248" cy="191566"/>
          </a:xfrm>
          <a:prstGeom prst="ellipse">
            <a:avLst/>
          </a:prstGeom>
          <a:solidFill>
            <a:schemeClr val="accent2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961"/>
              <a:buFont typeface="Arial"/>
              <a:buNone/>
            </a:pPr>
            <a:endParaRPr sz="2961" b="0" i="0" u="none" strike="noStrike" cap="none" dirty="0">
              <a:solidFill>
                <a:srgbClr val="FFFFFF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71" name="Google Shape;3216;p70">
            <a:extLst>
              <a:ext uri="{FF2B5EF4-FFF2-40B4-BE49-F238E27FC236}">
                <a16:creationId xmlns:a16="http://schemas.microsoft.com/office/drawing/2014/main" id="{59D6941A-7A1A-9904-04C0-62066A51F8BC}"/>
              </a:ext>
            </a:extLst>
          </p:cNvPr>
          <p:cNvSpPr txBox="1"/>
          <p:nvPr/>
        </p:nvSpPr>
        <p:spPr>
          <a:xfrm>
            <a:off x="1004539" y="2237031"/>
            <a:ext cx="6221707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rPr>
              <a:t>Insert Text Here</a:t>
            </a:r>
            <a:endParaRPr dirty="0"/>
          </a:p>
        </p:txBody>
      </p:sp>
      <p:sp>
        <p:nvSpPr>
          <p:cNvPr id="72" name="Google Shape;3217;p70">
            <a:extLst>
              <a:ext uri="{FF2B5EF4-FFF2-40B4-BE49-F238E27FC236}">
                <a16:creationId xmlns:a16="http://schemas.microsoft.com/office/drawing/2014/main" id="{EC7CB70A-6907-B69E-C8B3-724D53DA092A}"/>
              </a:ext>
            </a:extLst>
          </p:cNvPr>
          <p:cNvSpPr/>
          <p:nvPr/>
        </p:nvSpPr>
        <p:spPr>
          <a:xfrm rot="8072477" flipH="1">
            <a:off x="576509" y="2270776"/>
            <a:ext cx="229854" cy="240287"/>
          </a:xfrm>
          <a:prstGeom prst="ellipse">
            <a:avLst/>
          </a:prstGeom>
          <a:solidFill>
            <a:schemeClr val="accent2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62400" tIns="81200" rIns="162400" bIns="812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197"/>
              <a:buFont typeface="Arial"/>
              <a:buNone/>
            </a:pPr>
            <a:endParaRPr sz="3197" b="0" i="0" u="none" strike="noStrike" cap="none" dirty="0">
              <a:solidFill>
                <a:srgbClr val="FFFFFF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73" name="Google Shape;3218;p70">
            <a:extLst>
              <a:ext uri="{FF2B5EF4-FFF2-40B4-BE49-F238E27FC236}">
                <a16:creationId xmlns:a16="http://schemas.microsoft.com/office/drawing/2014/main" id="{C698282B-BFCA-78EE-5926-3892FC645D32}"/>
              </a:ext>
            </a:extLst>
          </p:cNvPr>
          <p:cNvSpPr/>
          <p:nvPr/>
        </p:nvSpPr>
        <p:spPr>
          <a:xfrm rot="8072477" flipH="1">
            <a:off x="599812" y="2295136"/>
            <a:ext cx="183248" cy="191566"/>
          </a:xfrm>
          <a:prstGeom prst="ellipse">
            <a:avLst/>
          </a:prstGeom>
          <a:solidFill>
            <a:schemeClr val="accent2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961"/>
              <a:buFont typeface="Arial"/>
              <a:buNone/>
            </a:pPr>
            <a:endParaRPr sz="2961" b="0" i="0" u="none" strike="noStrike" cap="none" dirty="0">
              <a:solidFill>
                <a:srgbClr val="FFFFFF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74" name="Google Shape;3219;p70">
            <a:extLst>
              <a:ext uri="{FF2B5EF4-FFF2-40B4-BE49-F238E27FC236}">
                <a16:creationId xmlns:a16="http://schemas.microsoft.com/office/drawing/2014/main" id="{15C103AA-34EC-72F2-AA3C-5A93FB6EEFDF}"/>
              </a:ext>
            </a:extLst>
          </p:cNvPr>
          <p:cNvSpPr txBox="1"/>
          <p:nvPr/>
        </p:nvSpPr>
        <p:spPr>
          <a:xfrm>
            <a:off x="1004539" y="2924536"/>
            <a:ext cx="6221707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rPr>
              <a:t>Insert Text Here</a:t>
            </a:r>
            <a:endParaRPr dirty="0"/>
          </a:p>
        </p:txBody>
      </p:sp>
      <p:sp>
        <p:nvSpPr>
          <p:cNvPr id="75" name="Google Shape;3220;p70">
            <a:extLst>
              <a:ext uri="{FF2B5EF4-FFF2-40B4-BE49-F238E27FC236}">
                <a16:creationId xmlns:a16="http://schemas.microsoft.com/office/drawing/2014/main" id="{561A729B-1A95-951D-61CA-B513E35FD37A}"/>
              </a:ext>
            </a:extLst>
          </p:cNvPr>
          <p:cNvSpPr/>
          <p:nvPr/>
        </p:nvSpPr>
        <p:spPr>
          <a:xfrm rot="8072477" flipH="1">
            <a:off x="576509" y="2958281"/>
            <a:ext cx="229854" cy="240287"/>
          </a:xfrm>
          <a:prstGeom prst="ellipse">
            <a:avLst/>
          </a:prstGeom>
          <a:solidFill>
            <a:schemeClr val="accent2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62400" tIns="81200" rIns="162400" bIns="812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197"/>
              <a:buFont typeface="Arial"/>
              <a:buNone/>
            </a:pPr>
            <a:endParaRPr sz="3197" b="0" i="0" u="none" strike="noStrike" cap="none" dirty="0">
              <a:solidFill>
                <a:srgbClr val="FFFFFF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76" name="Google Shape;3221;p70">
            <a:extLst>
              <a:ext uri="{FF2B5EF4-FFF2-40B4-BE49-F238E27FC236}">
                <a16:creationId xmlns:a16="http://schemas.microsoft.com/office/drawing/2014/main" id="{F3DFF5A1-D183-9432-9473-3E25A0A04712}"/>
              </a:ext>
            </a:extLst>
          </p:cNvPr>
          <p:cNvSpPr/>
          <p:nvPr/>
        </p:nvSpPr>
        <p:spPr>
          <a:xfrm rot="8072477" flipH="1">
            <a:off x="599812" y="2982641"/>
            <a:ext cx="183248" cy="191566"/>
          </a:xfrm>
          <a:prstGeom prst="ellipse">
            <a:avLst/>
          </a:prstGeom>
          <a:solidFill>
            <a:schemeClr val="accent2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961"/>
              <a:buFont typeface="Arial"/>
              <a:buNone/>
            </a:pPr>
            <a:endParaRPr sz="2961" b="0" i="0" u="none" strike="noStrike" cap="none" dirty="0">
              <a:solidFill>
                <a:srgbClr val="FFFFFF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77" name="Google Shape;3222;p70">
            <a:extLst>
              <a:ext uri="{FF2B5EF4-FFF2-40B4-BE49-F238E27FC236}">
                <a16:creationId xmlns:a16="http://schemas.microsoft.com/office/drawing/2014/main" id="{9191CA9C-E5B3-AAB1-2EBD-D8A581394CE7}"/>
              </a:ext>
            </a:extLst>
          </p:cNvPr>
          <p:cNvSpPr txBox="1"/>
          <p:nvPr/>
        </p:nvSpPr>
        <p:spPr>
          <a:xfrm>
            <a:off x="1004539" y="3612041"/>
            <a:ext cx="6221707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rPr>
              <a:t>Insert Text Here</a:t>
            </a:r>
            <a:endParaRPr dirty="0"/>
          </a:p>
        </p:txBody>
      </p:sp>
      <p:sp>
        <p:nvSpPr>
          <p:cNvPr id="78" name="Google Shape;3223;p70">
            <a:extLst>
              <a:ext uri="{FF2B5EF4-FFF2-40B4-BE49-F238E27FC236}">
                <a16:creationId xmlns:a16="http://schemas.microsoft.com/office/drawing/2014/main" id="{8B63B268-BE3F-00B0-1A61-34B0686B475F}"/>
              </a:ext>
            </a:extLst>
          </p:cNvPr>
          <p:cNvSpPr/>
          <p:nvPr/>
        </p:nvSpPr>
        <p:spPr>
          <a:xfrm rot="8072477" flipH="1">
            <a:off x="576509" y="3645786"/>
            <a:ext cx="229854" cy="240287"/>
          </a:xfrm>
          <a:prstGeom prst="ellipse">
            <a:avLst/>
          </a:prstGeom>
          <a:solidFill>
            <a:schemeClr val="accent2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62400" tIns="81200" rIns="162400" bIns="812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197"/>
              <a:buFont typeface="Arial"/>
              <a:buNone/>
            </a:pPr>
            <a:endParaRPr sz="3197" b="0" i="0" u="none" strike="noStrike" cap="none" dirty="0">
              <a:solidFill>
                <a:srgbClr val="FFFFFF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79" name="Google Shape;3224;p70">
            <a:extLst>
              <a:ext uri="{FF2B5EF4-FFF2-40B4-BE49-F238E27FC236}">
                <a16:creationId xmlns:a16="http://schemas.microsoft.com/office/drawing/2014/main" id="{2F766EBA-DC90-FF86-AD35-129CC2055A44}"/>
              </a:ext>
            </a:extLst>
          </p:cNvPr>
          <p:cNvSpPr/>
          <p:nvPr/>
        </p:nvSpPr>
        <p:spPr>
          <a:xfrm rot="8072477" flipH="1">
            <a:off x="599812" y="3670146"/>
            <a:ext cx="183248" cy="191566"/>
          </a:xfrm>
          <a:prstGeom prst="ellipse">
            <a:avLst/>
          </a:prstGeom>
          <a:solidFill>
            <a:schemeClr val="accent2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961"/>
              <a:buFont typeface="Arial"/>
              <a:buNone/>
            </a:pPr>
            <a:endParaRPr sz="2961" b="0" i="0" u="none" strike="noStrike" cap="none" dirty="0">
              <a:solidFill>
                <a:srgbClr val="FFFFFF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80" name="Google Shape;3225;p70">
            <a:extLst>
              <a:ext uri="{FF2B5EF4-FFF2-40B4-BE49-F238E27FC236}">
                <a16:creationId xmlns:a16="http://schemas.microsoft.com/office/drawing/2014/main" id="{2DC28EEE-8160-3BF1-3B5D-4C437B343B5A}"/>
              </a:ext>
            </a:extLst>
          </p:cNvPr>
          <p:cNvSpPr txBox="1"/>
          <p:nvPr/>
        </p:nvSpPr>
        <p:spPr>
          <a:xfrm>
            <a:off x="1004539" y="4299546"/>
            <a:ext cx="6221707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rPr>
              <a:t>Insert Text Here</a:t>
            </a:r>
            <a:endParaRPr dirty="0"/>
          </a:p>
        </p:txBody>
      </p:sp>
      <p:sp>
        <p:nvSpPr>
          <p:cNvPr id="81" name="Google Shape;3226;p70">
            <a:extLst>
              <a:ext uri="{FF2B5EF4-FFF2-40B4-BE49-F238E27FC236}">
                <a16:creationId xmlns:a16="http://schemas.microsoft.com/office/drawing/2014/main" id="{D6861662-E6B1-CB1A-D14E-EF3263D555D6}"/>
              </a:ext>
            </a:extLst>
          </p:cNvPr>
          <p:cNvSpPr/>
          <p:nvPr/>
        </p:nvSpPr>
        <p:spPr>
          <a:xfrm rot="8072477" flipH="1">
            <a:off x="576509" y="4333291"/>
            <a:ext cx="229854" cy="240287"/>
          </a:xfrm>
          <a:prstGeom prst="ellipse">
            <a:avLst/>
          </a:prstGeom>
          <a:solidFill>
            <a:schemeClr val="accent2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62400" tIns="81200" rIns="162400" bIns="812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197"/>
              <a:buFont typeface="Arial"/>
              <a:buNone/>
            </a:pPr>
            <a:endParaRPr sz="3197" b="0" i="0" u="none" strike="noStrike" cap="none" dirty="0">
              <a:solidFill>
                <a:srgbClr val="FFFFFF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82" name="Google Shape;3227;p70">
            <a:extLst>
              <a:ext uri="{FF2B5EF4-FFF2-40B4-BE49-F238E27FC236}">
                <a16:creationId xmlns:a16="http://schemas.microsoft.com/office/drawing/2014/main" id="{5D863AE7-8708-9546-4264-2400CCA670BF}"/>
              </a:ext>
            </a:extLst>
          </p:cNvPr>
          <p:cNvSpPr/>
          <p:nvPr/>
        </p:nvSpPr>
        <p:spPr>
          <a:xfrm rot="8072477" flipH="1">
            <a:off x="599812" y="4357651"/>
            <a:ext cx="183248" cy="191566"/>
          </a:xfrm>
          <a:prstGeom prst="ellipse">
            <a:avLst/>
          </a:prstGeom>
          <a:solidFill>
            <a:schemeClr val="accent2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961"/>
              <a:buFont typeface="Arial"/>
              <a:buNone/>
            </a:pPr>
            <a:endParaRPr sz="2961" b="0" i="0" u="none" strike="noStrike" cap="none" dirty="0">
              <a:solidFill>
                <a:srgbClr val="FFFFFF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83" name="Google Shape;3228;p70">
            <a:extLst>
              <a:ext uri="{FF2B5EF4-FFF2-40B4-BE49-F238E27FC236}">
                <a16:creationId xmlns:a16="http://schemas.microsoft.com/office/drawing/2014/main" id="{A2D357FB-FAF1-737F-71AF-F80B1B8EE8F7}"/>
              </a:ext>
            </a:extLst>
          </p:cNvPr>
          <p:cNvSpPr txBox="1"/>
          <p:nvPr/>
        </p:nvSpPr>
        <p:spPr>
          <a:xfrm>
            <a:off x="1004539" y="4987051"/>
            <a:ext cx="6221707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rPr>
              <a:t>Insert Text Here</a:t>
            </a:r>
            <a:endParaRPr dirty="0"/>
          </a:p>
        </p:txBody>
      </p:sp>
      <p:sp>
        <p:nvSpPr>
          <p:cNvPr id="84" name="Google Shape;3229;p70">
            <a:extLst>
              <a:ext uri="{FF2B5EF4-FFF2-40B4-BE49-F238E27FC236}">
                <a16:creationId xmlns:a16="http://schemas.microsoft.com/office/drawing/2014/main" id="{6953B364-C277-E48E-A3B8-514FF43441CA}"/>
              </a:ext>
            </a:extLst>
          </p:cNvPr>
          <p:cNvSpPr/>
          <p:nvPr/>
        </p:nvSpPr>
        <p:spPr>
          <a:xfrm rot="8072477" flipH="1">
            <a:off x="576509" y="5020796"/>
            <a:ext cx="229854" cy="240287"/>
          </a:xfrm>
          <a:prstGeom prst="ellipse">
            <a:avLst/>
          </a:prstGeom>
          <a:solidFill>
            <a:schemeClr val="accent2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62400" tIns="81200" rIns="162400" bIns="812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197"/>
              <a:buFont typeface="Arial"/>
              <a:buNone/>
            </a:pPr>
            <a:endParaRPr sz="3197" b="0" i="0" u="none" strike="noStrike" cap="none" dirty="0">
              <a:solidFill>
                <a:srgbClr val="FFFFFF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85" name="Google Shape;3230;p70">
            <a:extLst>
              <a:ext uri="{FF2B5EF4-FFF2-40B4-BE49-F238E27FC236}">
                <a16:creationId xmlns:a16="http://schemas.microsoft.com/office/drawing/2014/main" id="{1118A33D-79DD-240F-5A7F-8225180FEE75}"/>
              </a:ext>
            </a:extLst>
          </p:cNvPr>
          <p:cNvSpPr/>
          <p:nvPr/>
        </p:nvSpPr>
        <p:spPr>
          <a:xfrm rot="8072477" flipH="1">
            <a:off x="599812" y="5045156"/>
            <a:ext cx="183248" cy="191566"/>
          </a:xfrm>
          <a:prstGeom prst="ellipse">
            <a:avLst/>
          </a:prstGeom>
          <a:solidFill>
            <a:schemeClr val="accent2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961"/>
              <a:buFont typeface="Arial"/>
              <a:buNone/>
            </a:pPr>
            <a:endParaRPr sz="2961" b="0" i="0" u="none" strike="noStrike" cap="none" dirty="0">
              <a:solidFill>
                <a:srgbClr val="FFFFFF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86" name="Google Shape;3231;p70">
            <a:extLst>
              <a:ext uri="{FF2B5EF4-FFF2-40B4-BE49-F238E27FC236}">
                <a16:creationId xmlns:a16="http://schemas.microsoft.com/office/drawing/2014/main" id="{FEA9E501-92C8-1EC1-C041-24D475C194BF}"/>
              </a:ext>
            </a:extLst>
          </p:cNvPr>
          <p:cNvSpPr txBox="1"/>
          <p:nvPr/>
        </p:nvSpPr>
        <p:spPr>
          <a:xfrm>
            <a:off x="1004539" y="5674556"/>
            <a:ext cx="6221707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0" i="0" u="none" strike="noStrike" cap="none" dirty="0">
                <a:solidFill>
                  <a:srgbClr val="000000"/>
                </a:solidFill>
                <a:ea typeface="Arial"/>
                <a:cs typeface="Calibri" panose="020F0502020204030204" pitchFamily="34" charset="0"/>
                <a:sym typeface="Arial"/>
              </a:rPr>
              <a:t>Insert Text Here</a:t>
            </a:r>
            <a:endParaRPr dirty="0"/>
          </a:p>
        </p:txBody>
      </p:sp>
      <p:sp>
        <p:nvSpPr>
          <p:cNvPr id="87" name="Google Shape;3232;p70">
            <a:extLst>
              <a:ext uri="{FF2B5EF4-FFF2-40B4-BE49-F238E27FC236}">
                <a16:creationId xmlns:a16="http://schemas.microsoft.com/office/drawing/2014/main" id="{B0895385-6D46-034E-79E1-5EEDA5B4CF86}"/>
              </a:ext>
            </a:extLst>
          </p:cNvPr>
          <p:cNvSpPr/>
          <p:nvPr/>
        </p:nvSpPr>
        <p:spPr>
          <a:xfrm rot="8072477" flipH="1">
            <a:off x="576509" y="5708301"/>
            <a:ext cx="229854" cy="240287"/>
          </a:xfrm>
          <a:prstGeom prst="ellipse">
            <a:avLst/>
          </a:prstGeom>
          <a:solidFill>
            <a:schemeClr val="accent2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62400" tIns="81200" rIns="162400" bIns="812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197"/>
              <a:buFont typeface="Arial"/>
              <a:buNone/>
            </a:pPr>
            <a:endParaRPr sz="3197" b="0" i="0" u="none" strike="noStrike" cap="none" dirty="0">
              <a:solidFill>
                <a:srgbClr val="FFFFFF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88" name="Google Shape;3233;p70">
            <a:extLst>
              <a:ext uri="{FF2B5EF4-FFF2-40B4-BE49-F238E27FC236}">
                <a16:creationId xmlns:a16="http://schemas.microsoft.com/office/drawing/2014/main" id="{6023B56F-BCF0-6719-19F3-B9B7C8F38862}"/>
              </a:ext>
            </a:extLst>
          </p:cNvPr>
          <p:cNvSpPr/>
          <p:nvPr/>
        </p:nvSpPr>
        <p:spPr>
          <a:xfrm rot="8072477" flipH="1">
            <a:off x="599812" y="5732661"/>
            <a:ext cx="183248" cy="191566"/>
          </a:xfrm>
          <a:prstGeom prst="ellipse">
            <a:avLst/>
          </a:prstGeom>
          <a:solidFill>
            <a:schemeClr val="accent2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961"/>
              <a:buFont typeface="Arial"/>
              <a:buNone/>
            </a:pPr>
            <a:endParaRPr sz="2961" b="0" i="0" u="none" strike="noStrike" cap="none" dirty="0">
              <a:solidFill>
                <a:srgbClr val="FFFFFF"/>
              </a:solidFill>
              <a:ea typeface="Arial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89" name="Google Shape;3234;p70">
            <a:extLst>
              <a:ext uri="{FF2B5EF4-FFF2-40B4-BE49-F238E27FC236}">
                <a16:creationId xmlns:a16="http://schemas.microsoft.com/office/drawing/2014/main" id="{92F53DB8-D0E1-1186-D972-81B97382A8C8}"/>
              </a:ext>
            </a:extLst>
          </p:cNvPr>
          <p:cNvCxnSpPr/>
          <p:nvPr/>
        </p:nvCxnSpPr>
        <p:spPr>
          <a:xfrm>
            <a:off x="0" y="6172200"/>
            <a:ext cx="1219200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" name="Google Shape;3235;p70">
            <a:extLst>
              <a:ext uri="{FF2B5EF4-FFF2-40B4-BE49-F238E27FC236}">
                <a16:creationId xmlns:a16="http://schemas.microsoft.com/office/drawing/2014/main" id="{2473ACD6-AD28-8C73-CF98-BA77AE071D70}"/>
              </a:ext>
            </a:extLst>
          </p:cNvPr>
          <p:cNvSpPr/>
          <p:nvPr/>
        </p:nvSpPr>
        <p:spPr>
          <a:xfrm>
            <a:off x="1004540" y="1267012"/>
            <a:ext cx="10261752" cy="9265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683350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99"/>
              <a:buFont typeface="Arial"/>
              <a:buNone/>
            </a:pPr>
            <a:endParaRPr sz="1399" b="0" i="0" u="none" strike="noStrike" cap="none" dirty="0">
              <a:solidFill>
                <a:srgbClr val="FFFFFF"/>
              </a:solidFill>
              <a:ea typeface="Georgia"/>
              <a:cs typeface="Calibri" panose="020F0502020204030204" pitchFamily="34" charset="0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6560245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4</TotalTime>
  <Words>23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Crimson Pro</vt:lpstr>
      <vt:lpstr>Georgia</vt:lpstr>
      <vt:lpstr>Roboto</vt:lpstr>
      <vt:lpstr>Wingdings</vt:lpstr>
      <vt:lpstr>Office Theme</vt:lpstr>
      <vt:lpstr>think-cell Slide</vt:lpstr>
      <vt:lpstr>Text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492</cp:revision>
  <dcterms:created xsi:type="dcterms:W3CDTF">2021-03-31T02:49:57Z</dcterms:created>
  <dcterms:modified xsi:type="dcterms:W3CDTF">2025-10-16T11:09:40Z</dcterms:modified>
  <cp:category/>
</cp:coreProperties>
</file>